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271" r:id="rId3"/>
    <p:sldId id="273" r:id="rId4"/>
    <p:sldId id="275" r:id="rId5"/>
    <p:sldId id="276" r:id="rId6"/>
    <p:sldId id="277" r:id="rId7"/>
    <p:sldId id="278" r:id="rId8"/>
    <p:sldId id="279" r:id="rId9"/>
    <p:sldId id="280" r:id="rId10"/>
    <p:sldId id="281" r:id="rId11"/>
    <p:sldId id="282" r:id="rId12"/>
    <p:sldId id="288" r:id="rId13"/>
    <p:sldId id="289" r:id="rId14"/>
    <p:sldId id="290" r:id="rId15"/>
    <p:sldId id="291" r:id="rId16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O HUA DU" initials="SHD" lastIdx="1" clrIdx="0">
    <p:extLst>
      <p:ext uri="{19B8F6BF-5375-455C-9EA6-DF929625EA0E}">
        <p15:presenceInfo xmlns:p15="http://schemas.microsoft.com/office/powerpoint/2012/main" userId="S::dushaoh@cn.ibm.com::1a795512-533d-423d-8de6-87b5fc2d6da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104" d="100"/>
          <a:sy n="104" d="100"/>
        </p:scale>
        <p:origin x="144" y="32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854308985060705E-2"/>
          <c:y val="0.15208862368628218"/>
          <c:w val="0.91064991533391437"/>
          <c:h val="0.632665970305612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pany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00</c:v>
                </c:pt>
                <c:pt idx="1">
                  <c:v>1500</c:v>
                </c:pt>
                <c:pt idx="2">
                  <c:v>2500</c:v>
                </c:pt>
                <c:pt idx="3">
                  <c:v>3500</c:v>
                </c:pt>
                <c:pt idx="4">
                  <c:v>3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D7-44A4-B971-B5D43C120B0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any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500</c:v>
                </c:pt>
                <c:pt idx="1">
                  <c:v>1900</c:v>
                </c:pt>
                <c:pt idx="2">
                  <c:v>1600</c:v>
                </c:pt>
                <c:pt idx="3">
                  <c:v>2800</c:v>
                </c:pt>
                <c:pt idx="4">
                  <c:v>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D7-44A4-B971-B5D43C120B0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mpany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1700</c:v>
                </c:pt>
                <c:pt idx="1">
                  <c:v>1200</c:v>
                </c:pt>
                <c:pt idx="2">
                  <c:v>3000</c:v>
                </c:pt>
                <c:pt idx="3">
                  <c:v>3200</c:v>
                </c:pt>
                <c:pt idx="4">
                  <c:v>1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ED7-44A4-B971-B5D43C120B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14735"/>
        <c:axId val="306985215"/>
      </c:barChart>
      <c:catAx>
        <c:axId val="13147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985215"/>
        <c:crosses val="autoZero"/>
        <c:auto val="1"/>
        <c:lblAlgn val="ctr"/>
        <c:lblOffset val="100"/>
        <c:noMultiLvlLbl val="0"/>
      </c:catAx>
      <c:valAx>
        <c:axId val="306985215"/>
        <c:scaling>
          <c:orientation val="minMax"/>
          <c:max val="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47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854308985060705E-2"/>
          <c:y val="0.15208862368628218"/>
          <c:w val="0.91064991533391437"/>
          <c:h val="0.632665970305612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ctor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800</c:v>
                </c:pt>
                <c:pt idx="1">
                  <c:v>1400</c:v>
                </c:pt>
                <c:pt idx="2">
                  <c:v>2000</c:v>
                </c:pt>
                <c:pt idx="3">
                  <c:v>2800</c:v>
                </c:pt>
                <c:pt idx="4">
                  <c:v>3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D7-44A4-B971-B5D43C120B0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ctor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00</c:v>
                </c:pt>
                <c:pt idx="1">
                  <c:v>1500</c:v>
                </c:pt>
                <c:pt idx="2">
                  <c:v>2900</c:v>
                </c:pt>
                <c:pt idx="3">
                  <c:v>3500</c:v>
                </c:pt>
                <c:pt idx="4">
                  <c:v>3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D7-44A4-B971-B5D43C120B0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ctor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000</c:v>
                </c:pt>
                <c:pt idx="1">
                  <c:v>2500</c:v>
                </c:pt>
                <c:pt idx="2">
                  <c:v>3000</c:v>
                </c:pt>
                <c:pt idx="3">
                  <c:v>3500</c:v>
                </c:pt>
                <c:pt idx="4">
                  <c:v>1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ED7-44A4-B971-B5D43C120B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14735"/>
        <c:axId val="306985215"/>
      </c:barChart>
      <c:catAx>
        <c:axId val="13147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985215"/>
        <c:crosses val="autoZero"/>
        <c:auto val="1"/>
        <c:lblAlgn val="ctr"/>
        <c:lblOffset val="100"/>
        <c:noMultiLvlLbl val="0"/>
      </c:catAx>
      <c:valAx>
        <c:axId val="306985215"/>
        <c:scaling>
          <c:orientation val="minMax"/>
          <c:max val="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47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4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4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六边形 6">
            <a:extLst>
              <a:ext uri="{FF2B5EF4-FFF2-40B4-BE49-F238E27FC236}">
                <a16:creationId xmlns:a16="http://schemas.microsoft.com/office/drawing/2014/main" id="{992297D2-0AE2-4DBC-9FFF-D8281D1AFC70}"/>
              </a:ext>
            </a:extLst>
          </p:cNvPr>
          <p:cNvSpPr/>
          <p:nvPr userDrawn="1"/>
        </p:nvSpPr>
        <p:spPr>
          <a:xfrm>
            <a:off x="314120" y="2579602"/>
            <a:ext cx="5741418" cy="4949498"/>
          </a:xfrm>
          <a:prstGeom prst="hexagon">
            <a:avLst/>
          </a:prstGeom>
          <a:blipFill>
            <a:blip r:embed="rId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Hexagon 1_1">
            <a:extLst>
              <a:ext uri="{FF2B5EF4-FFF2-40B4-BE49-F238E27FC236}">
                <a16:creationId xmlns:a16="http://schemas.microsoft.com/office/drawing/2014/main" id="{794437B9-DE6D-4997-9FBC-D39F41E95C71}"/>
              </a:ext>
            </a:extLst>
          </p:cNvPr>
          <p:cNvSpPr/>
          <p:nvPr userDrawn="1"/>
        </p:nvSpPr>
        <p:spPr>
          <a:xfrm>
            <a:off x="742478" y="2948877"/>
            <a:ext cx="4884702" cy="4210949"/>
          </a:xfrm>
          <a:prstGeom prst="hexagon">
            <a:avLst/>
          </a:prstGeom>
          <a:solidFill>
            <a:schemeClr val="bg1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DA22766-A924-491B-917A-7F94B7742D64}"/>
              </a:ext>
            </a:extLst>
          </p:cNvPr>
          <p:cNvCxnSpPr>
            <a:cxnSpLocks/>
          </p:cNvCxnSpPr>
          <p:nvPr userDrawn="1"/>
        </p:nvCxnSpPr>
        <p:spPr>
          <a:xfrm flipV="1">
            <a:off x="7674461" y="3021444"/>
            <a:ext cx="550620" cy="782415"/>
          </a:xfrm>
          <a:prstGeom prst="line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3B3907DA-CA24-4CCE-98FF-A2A202F9647F}"/>
              </a:ext>
            </a:extLst>
          </p:cNvPr>
          <p:cNvCxnSpPr>
            <a:cxnSpLocks/>
          </p:cNvCxnSpPr>
          <p:nvPr userDrawn="1"/>
        </p:nvCxnSpPr>
        <p:spPr>
          <a:xfrm flipV="1">
            <a:off x="7069819" y="3429000"/>
            <a:ext cx="634521" cy="901635"/>
          </a:xfrm>
          <a:prstGeom prst="line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Hexagon 1_1">
            <a:extLst>
              <a:ext uri="{FF2B5EF4-FFF2-40B4-BE49-F238E27FC236}">
                <a16:creationId xmlns:a16="http://schemas.microsoft.com/office/drawing/2014/main" id="{CD9521B6-7A3D-44DA-A24B-6F23D995E067}"/>
              </a:ext>
            </a:extLst>
          </p:cNvPr>
          <p:cNvSpPr/>
          <p:nvPr userDrawn="1"/>
        </p:nvSpPr>
        <p:spPr>
          <a:xfrm>
            <a:off x="-17563" y="873763"/>
            <a:ext cx="2908970" cy="2507733"/>
          </a:xfrm>
          <a:prstGeom prst="hexagon">
            <a:avLst/>
          </a:prstGeom>
          <a:ln>
            <a:gradFill>
              <a:gsLst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6000">
                  <a:schemeClr val="accent3">
                    <a:lumMod val="20000"/>
                    <a:lumOff val="8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Hexagon 1_1">
            <a:extLst>
              <a:ext uri="{FF2B5EF4-FFF2-40B4-BE49-F238E27FC236}">
                <a16:creationId xmlns:a16="http://schemas.microsoft.com/office/drawing/2014/main" id="{958DC64F-0843-4F2B-BA75-41320D323925}"/>
              </a:ext>
            </a:extLst>
          </p:cNvPr>
          <p:cNvSpPr/>
          <p:nvPr userDrawn="1"/>
        </p:nvSpPr>
        <p:spPr>
          <a:xfrm>
            <a:off x="5974233" y="5877964"/>
            <a:ext cx="1700228" cy="1465714"/>
          </a:xfrm>
          <a:prstGeom prst="hexagon">
            <a:avLst/>
          </a:prstGeom>
          <a:ln>
            <a:gradFill>
              <a:gsLst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6000">
                  <a:schemeClr val="accent3">
                    <a:lumMod val="20000"/>
                    <a:lumOff val="8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066470" y="5127827"/>
            <a:ext cx="647065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066470" y="3876580"/>
            <a:ext cx="6470651" cy="12512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777580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1073851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4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EACFB062-CB9A-4D08-8B74-209D31EFB430}"/>
              </a:ext>
            </a:extLst>
          </p:cNvPr>
          <p:cNvGrpSpPr/>
          <p:nvPr userDrawn="1"/>
        </p:nvGrpSpPr>
        <p:grpSpPr>
          <a:xfrm>
            <a:off x="1732583" y="1143545"/>
            <a:ext cx="3446563" cy="3776989"/>
            <a:chOff x="-17563" y="873763"/>
            <a:chExt cx="6073101" cy="6655337"/>
          </a:xfrm>
        </p:grpSpPr>
        <p:sp>
          <p:nvSpPr>
            <p:cNvPr id="8" name="六边形 7">
              <a:extLst>
                <a:ext uri="{FF2B5EF4-FFF2-40B4-BE49-F238E27FC236}">
                  <a16:creationId xmlns:a16="http://schemas.microsoft.com/office/drawing/2014/main" id="{9D05165E-57A3-4392-8848-3F437D4FCDB3}"/>
                </a:ext>
              </a:extLst>
            </p:cNvPr>
            <p:cNvSpPr/>
            <p:nvPr userDrawn="1"/>
          </p:nvSpPr>
          <p:spPr>
            <a:xfrm>
              <a:off x="314120" y="2579602"/>
              <a:ext cx="5741418" cy="4949498"/>
            </a:xfrm>
            <a:prstGeom prst="hexagon">
              <a:avLst/>
            </a:prstGeom>
            <a:blipFill>
              <a:blip r:embed="rId2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Hexagon 1_1">
              <a:extLst>
                <a:ext uri="{FF2B5EF4-FFF2-40B4-BE49-F238E27FC236}">
                  <a16:creationId xmlns:a16="http://schemas.microsoft.com/office/drawing/2014/main" id="{21155DA2-9312-460A-B1FA-B4F057CFC9C4}"/>
                </a:ext>
              </a:extLst>
            </p:cNvPr>
            <p:cNvSpPr/>
            <p:nvPr userDrawn="1"/>
          </p:nvSpPr>
          <p:spPr>
            <a:xfrm>
              <a:off x="742478" y="2948877"/>
              <a:ext cx="4884702" cy="4210949"/>
            </a:xfrm>
            <a:prstGeom prst="hexagon">
              <a:avLst/>
            </a:prstGeom>
            <a:solidFill>
              <a:schemeClr val="bg1">
                <a:alpha val="6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Hexagon 1_1">
              <a:extLst>
                <a:ext uri="{FF2B5EF4-FFF2-40B4-BE49-F238E27FC236}">
                  <a16:creationId xmlns:a16="http://schemas.microsoft.com/office/drawing/2014/main" id="{1350FEF1-730D-4E68-8A8F-07C22B2BD97F}"/>
                </a:ext>
              </a:extLst>
            </p:cNvPr>
            <p:cNvSpPr/>
            <p:nvPr userDrawn="1"/>
          </p:nvSpPr>
          <p:spPr>
            <a:xfrm>
              <a:off x="-17563" y="873763"/>
              <a:ext cx="2908970" cy="2507733"/>
            </a:xfrm>
            <a:prstGeom prst="hexagon">
              <a:avLst/>
            </a:prstGeom>
            <a:ln>
              <a:gradFill>
                <a:gsLst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6000">
                    <a:schemeClr val="accent3">
                      <a:lumMod val="20000"/>
                      <a:lumOff val="8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362503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363619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4/14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5D1279BF-40D6-4EA3-85FC-6D382EB3C3D8}"/>
              </a:ext>
            </a:extLst>
          </p:cNvPr>
          <p:cNvGrpSpPr/>
          <p:nvPr userDrawn="1"/>
        </p:nvGrpSpPr>
        <p:grpSpPr>
          <a:xfrm>
            <a:off x="2653066" y="-739290"/>
            <a:ext cx="6073101" cy="6655337"/>
            <a:chOff x="-17563" y="873763"/>
            <a:chExt cx="6073101" cy="6655337"/>
          </a:xfrm>
        </p:grpSpPr>
        <p:sp>
          <p:nvSpPr>
            <p:cNvPr id="9" name="六边形 8">
              <a:extLst>
                <a:ext uri="{FF2B5EF4-FFF2-40B4-BE49-F238E27FC236}">
                  <a16:creationId xmlns:a16="http://schemas.microsoft.com/office/drawing/2014/main" id="{9B55CE7D-0249-4178-9021-D95C4D7D4B7D}"/>
                </a:ext>
              </a:extLst>
            </p:cNvPr>
            <p:cNvSpPr/>
            <p:nvPr userDrawn="1"/>
          </p:nvSpPr>
          <p:spPr>
            <a:xfrm>
              <a:off x="314120" y="2579602"/>
              <a:ext cx="5741418" cy="4949498"/>
            </a:xfrm>
            <a:prstGeom prst="hexagon">
              <a:avLst/>
            </a:prstGeom>
            <a:blipFill>
              <a:blip r:embed="rId2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Hexagon 1_1">
              <a:extLst>
                <a:ext uri="{FF2B5EF4-FFF2-40B4-BE49-F238E27FC236}">
                  <a16:creationId xmlns:a16="http://schemas.microsoft.com/office/drawing/2014/main" id="{DC2910E9-3519-4D65-A771-E6BE7613A84E}"/>
                </a:ext>
              </a:extLst>
            </p:cNvPr>
            <p:cNvSpPr/>
            <p:nvPr userDrawn="1"/>
          </p:nvSpPr>
          <p:spPr>
            <a:xfrm>
              <a:off x="742478" y="2948877"/>
              <a:ext cx="4884702" cy="4210949"/>
            </a:xfrm>
            <a:prstGeom prst="hexagon">
              <a:avLst/>
            </a:prstGeom>
            <a:solidFill>
              <a:schemeClr val="bg1">
                <a:alpha val="6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Hexagon 1_1">
              <a:extLst>
                <a:ext uri="{FF2B5EF4-FFF2-40B4-BE49-F238E27FC236}">
                  <a16:creationId xmlns:a16="http://schemas.microsoft.com/office/drawing/2014/main" id="{82683F6B-CB4F-49BB-8DC1-8912D6D82A12}"/>
                </a:ext>
              </a:extLst>
            </p:cNvPr>
            <p:cNvSpPr/>
            <p:nvPr userDrawn="1"/>
          </p:nvSpPr>
          <p:spPr>
            <a:xfrm>
              <a:off x="-17563" y="873763"/>
              <a:ext cx="2908970" cy="2507733"/>
            </a:xfrm>
            <a:prstGeom prst="hexagon">
              <a:avLst/>
            </a:prstGeom>
            <a:ln>
              <a:gradFill>
                <a:gsLst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6000">
                    <a:schemeClr val="accent3">
                      <a:lumMod val="20000"/>
                      <a:lumOff val="80000"/>
                    </a:schemeClr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179709" y="1866251"/>
            <a:ext cx="5118100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179709" y="4172487"/>
            <a:ext cx="51181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79711" y="3876216"/>
            <a:ext cx="511810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4/14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4" Type="http://schemas.openxmlformats.org/officeDocument/2006/relationships/chart" Target="../charts/char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4294967295"/>
          </p:nvPr>
        </p:nvSpPr>
        <p:spPr>
          <a:xfrm>
            <a:off x="3300557" y="4439805"/>
            <a:ext cx="2795443" cy="457200"/>
          </a:xfrm>
        </p:spPr>
        <p:txBody>
          <a:bodyPr>
            <a:normAutofit/>
          </a:bodyPr>
          <a:lstStyle/>
          <a:p>
            <a:pPr algn="ctr"/>
            <a:r>
              <a:rPr lang="en-US" altLang="zh-CN" sz="14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Stock Market Charting</a:t>
            </a:r>
          </a:p>
        </p:txBody>
      </p:sp>
      <p:sp>
        <p:nvSpPr>
          <p:cNvPr id="136" name="文本占位符 135">
            <a:extLst>
              <a:ext uri="{FF2B5EF4-FFF2-40B4-BE49-F238E27FC236}">
                <a16:creationId xmlns:a16="http://schemas.microsoft.com/office/drawing/2014/main" id="{379E156D-19CA-47D2-A751-5EA83EFEC6C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84187" y="1078707"/>
            <a:ext cx="10845800" cy="71278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 dirty="0">
                <a:solidFill>
                  <a:schemeClr val="accent3">
                    <a:lumMod val="40000"/>
                    <a:lumOff val="60000"/>
                  </a:schemeClr>
                </a:solidFill>
              </a:rPr>
              <a:t>dushaoh@cn.ibm.com</a:t>
            </a:r>
            <a:endParaRPr lang="en-US" altLang="en-US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  <a:p>
            <a:endParaRPr lang="zh-CN" altLang="en-US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 idx="4294967295"/>
          </p:nvPr>
        </p:nvSpPr>
        <p:spPr>
          <a:xfrm>
            <a:off x="2499919" y="1791494"/>
            <a:ext cx="6470650" cy="3275012"/>
          </a:xfrm>
        </p:spPr>
        <p:txBody>
          <a:bodyPr>
            <a:normAutofit/>
          </a:bodyPr>
          <a:lstStyle/>
          <a:p>
            <a:r>
              <a:rPr lang="en-US" altLang="zh-CN" sz="3600" b="0" dirty="0">
                <a:gradFill>
                  <a:gsLst>
                    <a:gs pos="100000">
                      <a:schemeClr val="accent1"/>
                    </a:gs>
                    <a:gs pos="20000">
                      <a:schemeClr val="accent2"/>
                    </a:gs>
                  </a:gsLst>
                  <a:path path="circle">
                    <a:fillToRect r="100000" b="100000"/>
                  </a:path>
                </a:gradFill>
              </a:rPr>
              <a:t>UI Design - Wireframe</a:t>
            </a:r>
            <a:br>
              <a:rPr lang="en-US" altLang="zh-CN" b="0" dirty="0">
                <a:gradFill>
                  <a:gsLst>
                    <a:gs pos="100000">
                      <a:schemeClr val="accent1"/>
                    </a:gs>
                    <a:gs pos="20000">
                      <a:schemeClr val="accent2"/>
                    </a:gs>
                  </a:gsLst>
                  <a:path path="circle">
                    <a:fillToRect r="100000" b="100000"/>
                  </a:path>
                </a:gradFill>
              </a:rPr>
            </a:br>
            <a:br>
              <a:rPr lang="en-US" altLang="zh-CN" b="0" dirty="0">
                <a:gradFill>
                  <a:gsLst>
                    <a:gs pos="100000">
                      <a:schemeClr val="accent1"/>
                    </a:gs>
                    <a:gs pos="20000">
                      <a:schemeClr val="accent2"/>
                    </a:gs>
                  </a:gsLst>
                  <a:path path="circle">
                    <a:fillToRect r="100000" b="100000"/>
                  </a:path>
                </a:gradFill>
              </a:rPr>
            </a:br>
            <a:r>
              <a:rPr lang="en-US" altLang="zh-CN" b="0" dirty="0">
                <a:gradFill>
                  <a:gsLst>
                    <a:gs pos="100000">
                      <a:schemeClr val="accent1"/>
                    </a:gs>
                    <a:gs pos="20000">
                      <a:schemeClr val="accent2"/>
                    </a:gs>
                  </a:gsLst>
                  <a:path path="circle">
                    <a:fillToRect r="100000" b="100000"/>
                  </a:path>
                </a:gradFill>
              </a:rPr>
              <a:t> </a:t>
            </a:r>
            <a:endParaRPr lang="zh-CN" altLang="en-US" b="0" dirty="0">
              <a:gradFill>
                <a:gsLst>
                  <a:gs pos="100000">
                    <a:schemeClr val="accent1"/>
                  </a:gs>
                  <a:gs pos="20000">
                    <a:schemeClr val="accent2"/>
                  </a:gs>
                </a:gsLst>
                <a:path path="circle">
                  <a:fillToRect r="100000" b="100000"/>
                </a:path>
              </a:gradFill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Update IPO – Edit Page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8564" y="1355728"/>
            <a:ext cx="9598788" cy="47140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9198989" y="1991549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523142" y="2717571"/>
            <a:ext cx="9060652" cy="335154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332436" y="2389793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Update IPO Detai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262528" y="2390015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Excha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4118330" y="2398639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1929000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Import 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EF6BB4-5DFC-400C-8B9A-90957CB54636}"/>
              </a:ext>
            </a:extLst>
          </p:cNvPr>
          <p:cNvSpPr txBox="1"/>
          <p:nvPr/>
        </p:nvSpPr>
        <p:spPr>
          <a:xfrm>
            <a:off x="4379024" y="2741293"/>
            <a:ext cx="2650084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List of Compan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F212AF-FAA9-4CF1-86F3-62C53012BE6D}"/>
              </a:ext>
            </a:extLst>
          </p:cNvPr>
          <p:cNvSpPr/>
          <p:nvPr/>
        </p:nvSpPr>
        <p:spPr>
          <a:xfrm>
            <a:off x="2360427" y="3198773"/>
            <a:ext cx="7531847" cy="273419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78143A8-4914-452D-8828-383F8353C96D}"/>
              </a:ext>
            </a:extLst>
          </p:cNvPr>
          <p:cNvGrpSpPr/>
          <p:nvPr/>
        </p:nvGrpSpPr>
        <p:grpSpPr>
          <a:xfrm>
            <a:off x="2472690" y="3868789"/>
            <a:ext cx="7290397" cy="517286"/>
            <a:chOff x="2608513" y="3775544"/>
            <a:chExt cx="7290397" cy="517286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A5F217A-1E48-4073-B485-87BD87B67BD4}"/>
                </a:ext>
              </a:extLst>
            </p:cNvPr>
            <p:cNvSpPr/>
            <p:nvPr/>
          </p:nvSpPr>
          <p:spPr>
            <a:xfrm>
              <a:off x="2608513" y="3775544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CD683D6-4ED6-4CD5-82D8-A9412F90678E}"/>
                </a:ext>
              </a:extLst>
            </p:cNvPr>
            <p:cNvSpPr/>
            <p:nvPr/>
          </p:nvSpPr>
          <p:spPr>
            <a:xfrm>
              <a:off x="2757368" y="3832169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5CCDAAB-D8E0-48F2-9763-F1F381618488}"/>
                </a:ext>
              </a:extLst>
            </p:cNvPr>
            <p:cNvSpPr/>
            <p:nvPr/>
          </p:nvSpPr>
          <p:spPr>
            <a:xfrm>
              <a:off x="3342155" y="3832168"/>
              <a:ext cx="2006023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55DB161-4DDA-4CDB-991A-F4377EE2D9E5}"/>
                </a:ext>
              </a:extLst>
            </p:cNvPr>
            <p:cNvSpPr/>
            <p:nvPr/>
          </p:nvSpPr>
          <p:spPr>
            <a:xfrm>
              <a:off x="6404037" y="3824330"/>
              <a:ext cx="246706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Description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75946A5-A6A9-4400-BF5A-69330F6DFE1B}"/>
                </a:ext>
              </a:extLst>
            </p:cNvPr>
            <p:cNvSpPr/>
            <p:nvPr/>
          </p:nvSpPr>
          <p:spPr>
            <a:xfrm>
              <a:off x="9066299" y="3866012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6D107B0-E404-405C-8AF0-B48A77D81E82}"/>
                </a:ext>
              </a:extLst>
            </p:cNvPr>
            <p:cNvSpPr/>
            <p:nvPr/>
          </p:nvSpPr>
          <p:spPr>
            <a:xfrm>
              <a:off x="5404580" y="3832168"/>
              <a:ext cx="90377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Exchange Name</a:t>
              </a:r>
            </a:p>
          </p:txBody>
        </p:sp>
      </p:grp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C7808020-FA27-4E27-BAA4-7CDDC40359CD}"/>
              </a:ext>
            </a:extLst>
          </p:cNvPr>
          <p:cNvSpPr/>
          <p:nvPr/>
        </p:nvSpPr>
        <p:spPr>
          <a:xfrm>
            <a:off x="8215123" y="2808309"/>
            <a:ext cx="1549845" cy="336351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New Company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DE810B4-83EC-4BE3-8BA4-886C56027C0E}"/>
              </a:ext>
            </a:extLst>
          </p:cNvPr>
          <p:cNvGrpSpPr/>
          <p:nvPr/>
        </p:nvGrpSpPr>
        <p:grpSpPr>
          <a:xfrm>
            <a:off x="2472689" y="3297843"/>
            <a:ext cx="7290397" cy="517286"/>
            <a:chOff x="2608513" y="3775544"/>
            <a:chExt cx="7290397" cy="517286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DEFCAED-CDD9-407D-AD32-084259C70C21}"/>
                </a:ext>
              </a:extLst>
            </p:cNvPr>
            <p:cNvSpPr/>
            <p:nvPr/>
          </p:nvSpPr>
          <p:spPr>
            <a:xfrm>
              <a:off x="2608513" y="3775544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EE643C2-0E16-4734-8041-C3AC103341F4}"/>
                </a:ext>
              </a:extLst>
            </p:cNvPr>
            <p:cNvSpPr/>
            <p:nvPr/>
          </p:nvSpPr>
          <p:spPr>
            <a:xfrm>
              <a:off x="2757368" y="3832169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71361E4-9AB2-41D8-AF59-61898B6D8F59}"/>
                </a:ext>
              </a:extLst>
            </p:cNvPr>
            <p:cNvSpPr/>
            <p:nvPr/>
          </p:nvSpPr>
          <p:spPr>
            <a:xfrm>
              <a:off x="3342155" y="3832168"/>
              <a:ext cx="2006023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8EBE40D-EE3F-415B-8D01-B78D07C90A61}"/>
                </a:ext>
              </a:extLst>
            </p:cNvPr>
            <p:cNvSpPr/>
            <p:nvPr/>
          </p:nvSpPr>
          <p:spPr>
            <a:xfrm>
              <a:off x="6404037" y="3824330"/>
              <a:ext cx="246706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Description</a:t>
              </a:r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9B80C979-AAF1-4283-901D-BD78863A084F}"/>
                </a:ext>
              </a:extLst>
            </p:cNvPr>
            <p:cNvSpPr/>
            <p:nvPr/>
          </p:nvSpPr>
          <p:spPr>
            <a:xfrm>
              <a:off x="9066299" y="3866012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D1889AD-C936-4419-93B1-9F2712D6E29A}"/>
                </a:ext>
              </a:extLst>
            </p:cNvPr>
            <p:cNvSpPr/>
            <p:nvPr/>
          </p:nvSpPr>
          <p:spPr>
            <a:xfrm>
              <a:off x="5404580" y="3832168"/>
              <a:ext cx="90377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Exchange Name</a:t>
              </a: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0031AAA1-761A-4718-98BE-F7680D899FA2}"/>
              </a:ext>
            </a:extLst>
          </p:cNvPr>
          <p:cNvSpPr/>
          <p:nvPr/>
        </p:nvSpPr>
        <p:spPr>
          <a:xfrm>
            <a:off x="3298908" y="2753887"/>
            <a:ext cx="6103089" cy="3083442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A9EC6D4-AFB1-4794-BAEA-ADE82E16F8C8}"/>
              </a:ext>
            </a:extLst>
          </p:cNvPr>
          <p:cNvSpPr txBox="1"/>
          <p:nvPr/>
        </p:nvSpPr>
        <p:spPr>
          <a:xfrm>
            <a:off x="4695617" y="2936256"/>
            <a:ext cx="3366627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Create/Edit IPO Details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290BAC4-130D-4626-ABDE-23F5110B9A82}"/>
              </a:ext>
            </a:extLst>
          </p:cNvPr>
          <p:cNvGrpSpPr/>
          <p:nvPr/>
        </p:nvGrpSpPr>
        <p:grpSpPr>
          <a:xfrm>
            <a:off x="4398285" y="3409965"/>
            <a:ext cx="2547443" cy="307777"/>
            <a:chOff x="3972498" y="3768759"/>
            <a:chExt cx="2547443" cy="307777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66C42EE-DD26-45E7-A276-E12E78EE332E}"/>
                </a:ext>
              </a:extLst>
            </p:cNvPr>
            <p:cNvSpPr txBox="1"/>
            <p:nvPr/>
          </p:nvSpPr>
          <p:spPr>
            <a:xfrm>
              <a:off x="3972498" y="3768759"/>
              <a:ext cx="1478290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Company Name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0D5588A-9DB2-4933-A243-970E5CBFA6A6}"/>
                </a:ext>
              </a:extLst>
            </p:cNvPr>
            <p:cNvSpPr txBox="1"/>
            <p:nvPr/>
          </p:nvSpPr>
          <p:spPr>
            <a:xfrm>
              <a:off x="5836741" y="3768759"/>
              <a:ext cx="683200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CPM1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85D9240-0236-4BF9-9145-0568F68DFBEA}"/>
              </a:ext>
            </a:extLst>
          </p:cNvPr>
          <p:cNvGrpSpPr/>
          <p:nvPr/>
        </p:nvGrpSpPr>
        <p:grpSpPr>
          <a:xfrm>
            <a:off x="4398284" y="3892350"/>
            <a:ext cx="2388747" cy="307777"/>
            <a:chOff x="3972497" y="4261580"/>
            <a:chExt cx="2388747" cy="307777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B790167-A904-4F3B-8805-DE63F5D2FA1D}"/>
                </a:ext>
              </a:extLst>
            </p:cNvPr>
            <p:cNvSpPr txBox="1"/>
            <p:nvPr/>
          </p:nvSpPr>
          <p:spPr>
            <a:xfrm>
              <a:off x="3972497" y="4261580"/>
              <a:ext cx="1498099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/>
                <a:t>Stock Exchange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CBCE05A-2223-45BC-A488-7C389ABF1E56}"/>
                </a:ext>
              </a:extLst>
            </p:cNvPr>
            <p:cNvSpPr txBox="1"/>
            <p:nvPr/>
          </p:nvSpPr>
          <p:spPr>
            <a:xfrm>
              <a:off x="5836741" y="4261580"/>
              <a:ext cx="524503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EX1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F87004C-903F-40A8-920E-19205B7109ED}"/>
              </a:ext>
            </a:extLst>
          </p:cNvPr>
          <p:cNvGrpSpPr/>
          <p:nvPr/>
        </p:nvGrpSpPr>
        <p:grpSpPr>
          <a:xfrm>
            <a:off x="4398284" y="4374735"/>
            <a:ext cx="2396762" cy="307777"/>
            <a:chOff x="3972497" y="4765330"/>
            <a:chExt cx="2396762" cy="307777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FF9107E2-DF5B-43AE-A262-0083C02D9A0C}"/>
                </a:ext>
              </a:extLst>
            </p:cNvPr>
            <p:cNvSpPr txBox="1"/>
            <p:nvPr/>
          </p:nvSpPr>
          <p:spPr>
            <a:xfrm>
              <a:off x="3972497" y="4765330"/>
              <a:ext cx="1489885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/>
                <a:t>Price per share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06A96D0-61D3-4543-9267-C243C98737E3}"/>
                </a:ext>
              </a:extLst>
            </p:cNvPr>
            <p:cNvSpPr txBox="1"/>
            <p:nvPr/>
          </p:nvSpPr>
          <p:spPr>
            <a:xfrm>
              <a:off x="5836741" y="4765330"/>
              <a:ext cx="532518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1.23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FF4BA29-DF3D-4B9B-9C8F-C46135CA44E0}"/>
              </a:ext>
            </a:extLst>
          </p:cNvPr>
          <p:cNvGrpSpPr/>
          <p:nvPr/>
        </p:nvGrpSpPr>
        <p:grpSpPr>
          <a:xfrm>
            <a:off x="4383356" y="4857121"/>
            <a:ext cx="2943385" cy="307777"/>
            <a:chOff x="3972498" y="3768759"/>
            <a:chExt cx="2943385" cy="307777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3BFB2FC9-DB63-46C5-840A-3F7DB7186DEA}"/>
                </a:ext>
              </a:extLst>
            </p:cNvPr>
            <p:cNvSpPr txBox="1"/>
            <p:nvPr/>
          </p:nvSpPr>
          <p:spPr>
            <a:xfrm>
              <a:off x="3972498" y="3768759"/>
              <a:ext cx="1490857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Open Date/Time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04F94B8-A6AE-4AC2-A107-C2DA99549E81}"/>
                </a:ext>
              </a:extLst>
            </p:cNvPr>
            <p:cNvSpPr txBox="1"/>
            <p:nvPr/>
          </p:nvSpPr>
          <p:spPr>
            <a:xfrm>
              <a:off x="5836741" y="3768759"/>
              <a:ext cx="1079142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01/01/2020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033964-41F2-4CF4-A9B0-D5FE3FE5A9BA}"/>
              </a:ext>
            </a:extLst>
          </p:cNvPr>
          <p:cNvGrpSpPr/>
          <p:nvPr/>
        </p:nvGrpSpPr>
        <p:grpSpPr>
          <a:xfrm>
            <a:off x="4984884" y="5376392"/>
            <a:ext cx="2222232" cy="336351"/>
            <a:chOff x="5073562" y="5376392"/>
            <a:chExt cx="2222232" cy="336351"/>
          </a:xfrm>
        </p:grpSpPr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F4BF78C9-3CE1-4670-A651-F654C4FF4636}"/>
                </a:ext>
              </a:extLst>
            </p:cNvPr>
            <p:cNvSpPr/>
            <p:nvPr/>
          </p:nvSpPr>
          <p:spPr>
            <a:xfrm>
              <a:off x="5073562" y="5376392"/>
              <a:ext cx="962332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ve</a:t>
              </a:r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5D8D9BB5-5619-4EA2-994C-5BE3030CAB55}"/>
                </a:ext>
              </a:extLst>
            </p:cNvPr>
            <p:cNvSpPr/>
            <p:nvPr/>
          </p:nvSpPr>
          <p:spPr>
            <a:xfrm>
              <a:off x="6333462" y="5376392"/>
              <a:ext cx="962332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ancel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097369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User Landing page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3910" y="1362561"/>
            <a:ext cx="9598788" cy="47140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8610599" y="2009459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519531" y="2725066"/>
            <a:ext cx="9060652" cy="335154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295481" y="2399161"/>
            <a:ext cx="1467605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Oth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191758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are Sect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4032670" y="2406656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ar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2472689" y="2422883"/>
            <a:ext cx="1504505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PO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61BFAF1-21FB-47EA-8F03-7662AF6A2D16}"/>
              </a:ext>
            </a:extLst>
          </p:cNvPr>
          <p:cNvGrpSpPr/>
          <p:nvPr/>
        </p:nvGrpSpPr>
        <p:grpSpPr>
          <a:xfrm>
            <a:off x="2472689" y="3297843"/>
            <a:ext cx="7290397" cy="517286"/>
            <a:chOff x="2472689" y="3297843"/>
            <a:chExt cx="7290397" cy="51728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EA6E77A-E7AB-49AA-9BA8-657439754576}"/>
                </a:ext>
              </a:extLst>
            </p:cNvPr>
            <p:cNvSpPr/>
            <p:nvPr/>
          </p:nvSpPr>
          <p:spPr>
            <a:xfrm>
              <a:off x="2472689" y="3297843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0BFBE05-8473-4E22-B204-D4DB43E98C9F}"/>
                </a:ext>
              </a:extLst>
            </p:cNvPr>
            <p:cNvSpPr/>
            <p:nvPr/>
          </p:nvSpPr>
          <p:spPr>
            <a:xfrm>
              <a:off x="2621544" y="3354468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D325708-D776-456E-90F4-AF70985EEE87}"/>
                </a:ext>
              </a:extLst>
            </p:cNvPr>
            <p:cNvSpPr/>
            <p:nvPr/>
          </p:nvSpPr>
          <p:spPr>
            <a:xfrm>
              <a:off x="3150861" y="3354467"/>
              <a:ext cx="1251889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67B5A55-3C31-4AD1-9229-ECAEED9254D0}"/>
                </a:ext>
              </a:extLst>
            </p:cNvPr>
            <p:cNvSpPr/>
            <p:nvPr/>
          </p:nvSpPr>
          <p:spPr>
            <a:xfrm>
              <a:off x="7601960" y="3346629"/>
              <a:ext cx="121870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Open Date/Time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35B87D3-57D4-4502-9423-2387BC344C98}"/>
                </a:ext>
              </a:extLst>
            </p:cNvPr>
            <p:cNvSpPr/>
            <p:nvPr/>
          </p:nvSpPr>
          <p:spPr>
            <a:xfrm>
              <a:off x="8930475" y="3388311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BB2B74E-5115-4465-B526-6D283E378FEB}"/>
                </a:ext>
              </a:extLst>
            </p:cNvPr>
            <p:cNvSpPr/>
            <p:nvPr/>
          </p:nvSpPr>
          <p:spPr>
            <a:xfrm>
              <a:off x="6239267" y="3354467"/>
              <a:ext cx="132321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Total # of shares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1BC9E16-08E8-4739-8982-410ECDE7437E}"/>
                </a:ext>
              </a:extLst>
            </p:cNvPr>
            <p:cNvSpPr/>
            <p:nvPr/>
          </p:nvSpPr>
          <p:spPr>
            <a:xfrm>
              <a:off x="4492604" y="3354467"/>
              <a:ext cx="85505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Stock Exchang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D2E6B11-1E04-448E-BA15-7A56A11CAEDD}"/>
                </a:ext>
              </a:extLst>
            </p:cNvPr>
            <p:cNvSpPr/>
            <p:nvPr/>
          </p:nvSpPr>
          <p:spPr>
            <a:xfrm>
              <a:off x="5446428" y="3358012"/>
              <a:ext cx="74691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rice per share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BD46522-81B7-48AF-90D5-F289A0C64A62}"/>
              </a:ext>
            </a:extLst>
          </p:cNvPr>
          <p:cNvGrpSpPr/>
          <p:nvPr/>
        </p:nvGrpSpPr>
        <p:grpSpPr>
          <a:xfrm>
            <a:off x="2472689" y="3864743"/>
            <a:ext cx="7290397" cy="517286"/>
            <a:chOff x="2472689" y="3297843"/>
            <a:chExt cx="7290397" cy="517286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2FC1C77-BF47-491E-A9D4-5B7A12FB6305}"/>
                </a:ext>
              </a:extLst>
            </p:cNvPr>
            <p:cNvSpPr/>
            <p:nvPr/>
          </p:nvSpPr>
          <p:spPr>
            <a:xfrm>
              <a:off x="2472689" y="3297843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39EC196-6710-43DF-9C5C-8EB3C4381411}"/>
                </a:ext>
              </a:extLst>
            </p:cNvPr>
            <p:cNvSpPr/>
            <p:nvPr/>
          </p:nvSpPr>
          <p:spPr>
            <a:xfrm>
              <a:off x="2621544" y="3354468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FE57A9E-C0EE-42AE-993D-B93507BD8F5B}"/>
                </a:ext>
              </a:extLst>
            </p:cNvPr>
            <p:cNvSpPr/>
            <p:nvPr/>
          </p:nvSpPr>
          <p:spPr>
            <a:xfrm>
              <a:off x="3150861" y="3354467"/>
              <a:ext cx="1251889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7D0E63-3D2C-43DD-993E-77AFB355EFA6}"/>
                </a:ext>
              </a:extLst>
            </p:cNvPr>
            <p:cNvSpPr/>
            <p:nvPr/>
          </p:nvSpPr>
          <p:spPr>
            <a:xfrm>
              <a:off x="7601960" y="3346629"/>
              <a:ext cx="121870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Open Date/Time</a:t>
              </a: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1423D45B-F115-45AB-880B-0C05F04204F1}"/>
                </a:ext>
              </a:extLst>
            </p:cNvPr>
            <p:cNvSpPr/>
            <p:nvPr/>
          </p:nvSpPr>
          <p:spPr>
            <a:xfrm>
              <a:off x="8930475" y="3388311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A7121E5-D4F4-4FF1-91B6-22E634070FE5}"/>
                </a:ext>
              </a:extLst>
            </p:cNvPr>
            <p:cNvSpPr/>
            <p:nvPr/>
          </p:nvSpPr>
          <p:spPr>
            <a:xfrm>
              <a:off x="6239267" y="3354467"/>
              <a:ext cx="132321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Total # of shares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11509634-B749-4EE7-B8D0-CA404A1BE831}"/>
                </a:ext>
              </a:extLst>
            </p:cNvPr>
            <p:cNvSpPr/>
            <p:nvPr/>
          </p:nvSpPr>
          <p:spPr>
            <a:xfrm>
              <a:off x="4492604" y="3354467"/>
              <a:ext cx="85505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Stock Exchange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5816A67-E23B-461E-93EB-D35F20AD784F}"/>
                </a:ext>
              </a:extLst>
            </p:cNvPr>
            <p:cNvSpPr/>
            <p:nvPr/>
          </p:nvSpPr>
          <p:spPr>
            <a:xfrm>
              <a:off x="5446428" y="3358012"/>
              <a:ext cx="74691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rice per share</a:t>
              </a: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C59F7017-3906-49D3-ADFF-5C7B52347319}"/>
              </a:ext>
            </a:extLst>
          </p:cNvPr>
          <p:cNvSpPr txBox="1"/>
          <p:nvPr/>
        </p:nvSpPr>
        <p:spPr>
          <a:xfrm>
            <a:off x="4379024" y="2741293"/>
            <a:ext cx="2836033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List of IPO Plann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5038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Compare company page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8564" y="1355728"/>
            <a:ext cx="9598788" cy="4714053"/>
          </a:xfrm>
          <a:prstGeom prst="rect">
            <a:avLst/>
          </a:prstGeom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9322349" y="2006043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846288" y="2399161"/>
            <a:ext cx="1433785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Oth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911706" y="2407984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are Sect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4739169" y="2398543"/>
            <a:ext cx="1733107" cy="3184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ar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2526582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IPO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59F7017-3906-49D3-ADFF-5C7B52347319}"/>
              </a:ext>
            </a:extLst>
          </p:cNvPr>
          <p:cNvSpPr txBox="1"/>
          <p:nvPr/>
        </p:nvSpPr>
        <p:spPr>
          <a:xfrm>
            <a:off x="4379024" y="2741293"/>
            <a:ext cx="2547492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Chart Gener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51C902A-C293-434F-B602-55B09315D3AC}"/>
              </a:ext>
            </a:extLst>
          </p:cNvPr>
          <p:cNvSpPr/>
          <p:nvPr/>
        </p:nvSpPr>
        <p:spPr>
          <a:xfrm>
            <a:off x="2875048" y="4373607"/>
            <a:ext cx="2960624" cy="38404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Company Nam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8727C61-257F-414B-AF00-DCCDD36A7557}"/>
              </a:ext>
            </a:extLst>
          </p:cNvPr>
          <p:cNvGrpSpPr/>
          <p:nvPr/>
        </p:nvGrpSpPr>
        <p:grpSpPr>
          <a:xfrm>
            <a:off x="2878536" y="4887099"/>
            <a:ext cx="2962721" cy="420943"/>
            <a:chOff x="4061404" y="5455245"/>
            <a:chExt cx="3258995" cy="420943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96C0E226-8E2A-4AAC-A670-533290074F68}"/>
                </a:ext>
              </a:extLst>
            </p:cNvPr>
            <p:cNvSpPr/>
            <p:nvPr/>
          </p:nvSpPr>
          <p:spPr>
            <a:xfrm>
              <a:off x="4061404" y="5455245"/>
              <a:ext cx="1519269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01/01/2020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EB7E665-FBFF-4539-AAC6-0514C036F0FE}"/>
                </a:ext>
              </a:extLst>
            </p:cNvPr>
            <p:cNvSpPr/>
            <p:nvPr/>
          </p:nvSpPr>
          <p:spPr>
            <a:xfrm>
              <a:off x="5801131" y="5455245"/>
              <a:ext cx="1519268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0</a:t>
              </a:r>
              <a:r>
                <a:rPr lang="en-US" altLang="zh-CN" sz="1400" dirty="0"/>
                <a:t>5</a:t>
              </a:r>
              <a:r>
                <a:rPr lang="en-US" sz="1400" dirty="0"/>
                <a:t>/31/2020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4C841806-B90F-4145-9A4E-741CC5ADCFBE}"/>
                </a:ext>
              </a:extLst>
            </p:cNvPr>
            <p:cNvSpPr/>
            <p:nvPr/>
          </p:nvSpPr>
          <p:spPr>
            <a:xfrm>
              <a:off x="5606062" y="5455245"/>
              <a:ext cx="169669" cy="42094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-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52ABF0A-C3ED-4E04-90AB-3E64C667634F}"/>
              </a:ext>
            </a:extLst>
          </p:cNvPr>
          <p:cNvGrpSpPr/>
          <p:nvPr/>
        </p:nvGrpSpPr>
        <p:grpSpPr>
          <a:xfrm>
            <a:off x="2875048" y="3295507"/>
            <a:ext cx="2960625" cy="420943"/>
            <a:chOff x="3861591" y="3359305"/>
            <a:chExt cx="3582357" cy="420943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1C5E146A-BE5D-4690-8FBD-904C76E0411A}"/>
                </a:ext>
              </a:extLst>
            </p:cNvPr>
            <p:cNvSpPr/>
            <p:nvPr/>
          </p:nvSpPr>
          <p:spPr>
            <a:xfrm>
              <a:off x="3861591" y="3359305"/>
              <a:ext cx="3582357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hart Type</a:t>
              </a:r>
            </a:p>
          </p:txBody>
        </p:sp>
        <p:sp>
          <p:nvSpPr>
            <p:cNvPr id="64" name="Rectangle 61">
              <a:extLst>
                <a:ext uri="{FF2B5EF4-FFF2-40B4-BE49-F238E27FC236}">
                  <a16:creationId xmlns:a16="http://schemas.microsoft.com/office/drawing/2014/main" id="{52E61E09-8424-4418-8528-DAF184AD2557}"/>
                </a:ext>
              </a:extLst>
            </p:cNvPr>
            <p:cNvSpPr/>
            <p:nvPr/>
          </p:nvSpPr>
          <p:spPr>
            <a:xfrm>
              <a:off x="6687323" y="3447801"/>
              <a:ext cx="478386" cy="290425"/>
            </a:xfrm>
            <a:custGeom>
              <a:avLst/>
              <a:gdLst>
                <a:gd name="T0" fmla="*/ 3395 w 5991"/>
                <a:gd name="T1" fmla="*/ 3400 h 3636"/>
                <a:gd name="T2" fmla="*/ 5744 w 5991"/>
                <a:gd name="T3" fmla="*/ 1103 h 3636"/>
                <a:gd name="T4" fmla="*/ 5892 w 5991"/>
                <a:gd name="T5" fmla="*/ 401 h 3636"/>
                <a:gd name="T6" fmla="*/ 5296 w 5991"/>
                <a:gd name="T7" fmla="*/ 2 h 3636"/>
                <a:gd name="T8" fmla="*/ 694 w 5991"/>
                <a:gd name="T9" fmla="*/ 2 h 3636"/>
                <a:gd name="T10" fmla="*/ 101 w 5991"/>
                <a:gd name="T11" fmla="*/ 392 h 3636"/>
                <a:gd name="T12" fmla="*/ 233 w 5991"/>
                <a:gd name="T13" fmla="*/ 1090 h 3636"/>
                <a:gd name="T14" fmla="*/ 2473 w 5991"/>
                <a:gd name="T15" fmla="*/ 3388 h 3636"/>
                <a:gd name="T16" fmla="*/ 3376 w 5991"/>
                <a:gd name="T17" fmla="*/ 3388 h 3636"/>
                <a:gd name="T18" fmla="*/ 3395 w 5991"/>
                <a:gd name="T19" fmla="*/ 3400 h 3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1" h="3636">
                  <a:moveTo>
                    <a:pt x="3395" y="3400"/>
                  </a:moveTo>
                  <a:lnTo>
                    <a:pt x="5744" y="1103"/>
                  </a:lnTo>
                  <a:cubicBezTo>
                    <a:pt x="5932" y="921"/>
                    <a:pt x="5991" y="643"/>
                    <a:pt x="5892" y="401"/>
                  </a:cubicBezTo>
                  <a:cubicBezTo>
                    <a:pt x="5794" y="158"/>
                    <a:pt x="5558" y="0"/>
                    <a:pt x="5296" y="2"/>
                  </a:cubicBezTo>
                  <a:lnTo>
                    <a:pt x="694" y="2"/>
                  </a:lnTo>
                  <a:cubicBezTo>
                    <a:pt x="436" y="0"/>
                    <a:pt x="202" y="154"/>
                    <a:pt x="101" y="392"/>
                  </a:cubicBezTo>
                  <a:cubicBezTo>
                    <a:pt x="0" y="630"/>
                    <a:pt x="53" y="905"/>
                    <a:pt x="233" y="1090"/>
                  </a:cubicBezTo>
                  <a:lnTo>
                    <a:pt x="2473" y="3388"/>
                  </a:lnTo>
                  <a:cubicBezTo>
                    <a:pt x="2723" y="3636"/>
                    <a:pt x="3126" y="3636"/>
                    <a:pt x="3376" y="3388"/>
                  </a:cubicBezTo>
                  <a:lnTo>
                    <a:pt x="3395" y="3400"/>
                  </a:lnTo>
                  <a:close/>
                </a:path>
              </a:pathLst>
            </a:cu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sp>
        <p:nvSpPr>
          <p:cNvPr id="82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5210609" y="4395798"/>
            <a:ext cx="384343" cy="325391"/>
          </a:xfrm>
          <a:custGeom>
            <a:avLst/>
            <a:gdLst>
              <a:gd name="T0" fmla="*/ 2466 w 4933"/>
              <a:gd name="T1" fmla="*/ 0 h 4933"/>
              <a:gd name="T2" fmla="*/ 0 w 4933"/>
              <a:gd name="T3" fmla="*/ 2466 h 4933"/>
              <a:gd name="T4" fmla="*/ 2466 w 4933"/>
              <a:gd name="T5" fmla="*/ 4933 h 4933"/>
              <a:gd name="T6" fmla="*/ 4933 w 4933"/>
              <a:gd name="T7" fmla="*/ 2466 h 4933"/>
              <a:gd name="T8" fmla="*/ 2466 w 4933"/>
              <a:gd name="T9" fmla="*/ 0 h 4933"/>
              <a:gd name="T10" fmla="*/ 3421 w 4933"/>
              <a:gd name="T11" fmla="*/ 2546 h 4933"/>
              <a:gd name="T12" fmla="*/ 2546 w 4933"/>
              <a:gd name="T13" fmla="*/ 2546 h 4933"/>
              <a:gd name="T14" fmla="*/ 2546 w 4933"/>
              <a:gd name="T15" fmla="*/ 3421 h 4933"/>
              <a:gd name="T16" fmla="*/ 2387 w 4933"/>
              <a:gd name="T17" fmla="*/ 3421 h 4933"/>
              <a:gd name="T18" fmla="*/ 2387 w 4933"/>
              <a:gd name="T19" fmla="*/ 2546 h 4933"/>
              <a:gd name="T20" fmla="*/ 1512 w 4933"/>
              <a:gd name="T21" fmla="*/ 2546 h 4933"/>
              <a:gd name="T22" fmla="*/ 1512 w 4933"/>
              <a:gd name="T23" fmla="*/ 2387 h 4933"/>
              <a:gd name="T24" fmla="*/ 2387 w 4933"/>
              <a:gd name="T25" fmla="*/ 2387 h 4933"/>
              <a:gd name="T26" fmla="*/ 2387 w 4933"/>
              <a:gd name="T27" fmla="*/ 1512 h 4933"/>
              <a:gd name="T28" fmla="*/ 2546 w 4933"/>
              <a:gd name="T29" fmla="*/ 1512 h 4933"/>
              <a:gd name="T30" fmla="*/ 2546 w 4933"/>
              <a:gd name="T31" fmla="*/ 2387 h 4933"/>
              <a:gd name="T32" fmla="*/ 3421 w 4933"/>
              <a:gd name="T33" fmla="*/ 2387 h 4933"/>
              <a:gd name="T34" fmla="*/ 3421 w 4933"/>
              <a:gd name="T35" fmla="*/ 2546 h 49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33" h="4933">
                <a:moveTo>
                  <a:pt x="2466" y="0"/>
                </a:moveTo>
                <a:cubicBezTo>
                  <a:pt x="1106" y="0"/>
                  <a:pt x="0" y="1106"/>
                  <a:pt x="0" y="2466"/>
                </a:cubicBezTo>
                <a:cubicBezTo>
                  <a:pt x="0" y="3826"/>
                  <a:pt x="1106" y="4933"/>
                  <a:pt x="2466" y="4933"/>
                </a:cubicBezTo>
                <a:cubicBezTo>
                  <a:pt x="3826" y="4933"/>
                  <a:pt x="4933" y="3826"/>
                  <a:pt x="4933" y="2466"/>
                </a:cubicBezTo>
                <a:cubicBezTo>
                  <a:pt x="4933" y="1106"/>
                  <a:pt x="3826" y="0"/>
                  <a:pt x="2466" y="0"/>
                </a:cubicBezTo>
                <a:close/>
                <a:moveTo>
                  <a:pt x="3421" y="2546"/>
                </a:moveTo>
                <a:lnTo>
                  <a:pt x="2546" y="2546"/>
                </a:lnTo>
                <a:lnTo>
                  <a:pt x="2546" y="3421"/>
                </a:lnTo>
                <a:lnTo>
                  <a:pt x="2387" y="3421"/>
                </a:lnTo>
                <a:lnTo>
                  <a:pt x="2387" y="2546"/>
                </a:lnTo>
                <a:lnTo>
                  <a:pt x="1512" y="2546"/>
                </a:lnTo>
                <a:lnTo>
                  <a:pt x="1512" y="2387"/>
                </a:lnTo>
                <a:lnTo>
                  <a:pt x="2387" y="2387"/>
                </a:lnTo>
                <a:lnTo>
                  <a:pt x="2387" y="1512"/>
                </a:lnTo>
                <a:lnTo>
                  <a:pt x="2546" y="1512"/>
                </a:lnTo>
                <a:lnTo>
                  <a:pt x="2546" y="2387"/>
                </a:lnTo>
                <a:lnTo>
                  <a:pt x="3421" y="2387"/>
                </a:lnTo>
                <a:lnTo>
                  <a:pt x="3421" y="2546"/>
                </a:ln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69DCAFA0-6449-49AC-B3B8-6C031D390654}"/>
              </a:ext>
            </a:extLst>
          </p:cNvPr>
          <p:cNvSpPr/>
          <p:nvPr/>
        </p:nvSpPr>
        <p:spPr>
          <a:xfrm>
            <a:off x="1519531" y="2725066"/>
            <a:ext cx="9060652" cy="3351548"/>
          </a:xfrm>
          <a:prstGeom prst="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4BE8994-4EF5-445C-A769-D0878F4B53AA}"/>
              </a:ext>
            </a:extLst>
          </p:cNvPr>
          <p:cNvGrpSpPr/>
          <p:nvPr/>
        </p:nvGrpSpPr>
        <p:grpSpPr>
          <a:xfrm>
            <a:off x="2875048" y="3830775"/>
            <a:ext cx="2960625" cy="420943"/>
            <a:chOff x="3861591" y="3359305"/>
            <a:chExt cx="3582357" cy="420943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51CED4A0-63D1-47C1-861C-4477CD8111B0}"/>
                </a:ext>
              </a:extLst>
            </p:cNvPr>
            <p:cNvSpPr/>
            <p:nvPr/>
          </p:nvSpPr>
          <p:spPr>
            <a:xfrm>
              <a:off x="3861591" y="3359305"/>
              <a:ext cx="3582357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xchange</a:t>
              </a:r>
            </a:p>
          </p:txBody>
        </p:sp>
        <p:sp>
          <p:nvSpPr>
            <p:cNvPr id="87" name="Rectangle 61">
              <a:extLst>
                <a:ext uri="{FF2B5EF4-FFF2-40B4-BE49-F238E27FC236}">
                  <a16:creationId xmlns:a16="http://schemas.microsoft.com/office/drawing/2014/main" id="{64881365-C950-4FDF-97B7-006E1B2393E3}"/>
                </a:ext>
              </a:extLst>
            </p:cNvPr>
            <p:cNvSpPr/>
            <p:nvPr/>
          </p:nvSpPr>
          <p:spPr>
            <a:xfrm>
              <a:off x="6687323" y="3447801"/>
              <a:ext cx="478386" cy="290425"/>
            </a:xfrm>
            <a:custGeom>
              <a:avLst/>
              <a:gdLst>
                <a:gd name="T0" fmla="*/ 3395 w 5991"/>
                <a:gd name="T1" fmla="*/ 3400 h 3636"/>
                <a:gd name="T2" fmla="*/ 5744 w 5991"/>
                <a:gd name="T3" fmla="*/ 1103 h 3636"/>
                <a:gd name="T4" fmla="*/ 5892 w 5991"/>
                <a:gd name="T5" fmla="*/ 401 h 3636"/>
                <a:gd name="T6" fmla="*/ 5296 w 5991"/>
                <a:gd name="T7" fmla="*/ 2 h 3636"/>
                <a:gd name="T8" fmla="*/ 694 w 5991"/>
                <a:gd name="T9" fmla="*/ 2 h 3636"/>
                <a:gd name="T10" fmla="*/ 101 w 5991"/>
                <a:gd name="T11" fmla="*/ 392 h 3636"/>
                <a:gd name="T12" fmla="*/ 233 w 5991"/>
                <a:gd name="T13" fmla="*/ 1090 h 3636"/>
                <a:gd name="T14" fmla="*/ 2473 w 5991"/>
                <a:gd name="T15" fmla="*/ 3388 h 3636"/>
                <a:gd name="T16" fmla="*/ 3376 w 5991"/>
                <a:gd name="T17" fmla="*/ 3388 h 3636"/>
                <a:gd name="T18" fmla="*/ 3395 w 5991"/>
                <a:gd name="T19" fmla="*/ 3400 h 3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1" h="3636">
                  <a:moveTo>
                    <a:pt x="3395" y="3400"/>
                  </a:moveTo>
                  <a:lnTo>
                    <a:pt x="5744" y="1103"/>
                  </a:lnTo>
                  <a:cubicBezTo>
                    <a:pt x="5932" y="921"/>
                    <a:pt x="5991" y="643"/>
                    <a:pt x="5892" y="401"/>
                  </a:cubicBezTo>
                  <a:cubicBezTo>
                    <a:pt x="5794" y="158"/>
                    <a:pt x="5558" y="0"/>
                    <a:pt x="5296" y="2"/>
                  </a:cubicBezTo>
                  <a:lnTo>
                    <a:pt x="694" y="2"/>
                  </a:lnTo>
                  <a:cubicBezTo>
                    <a:pt x="436" y="0"/>
                    <a:pt x="202" y="154"/>
                    <a:pt x="101" y="392"/>
                  </a:cubicBezTo>
                  <a:cubicBezTo>
                    <a:pt x="0" y="630"/>
                    <a:pt x="53" y="905"/>
                    <a:pt x="233" y="1090"/>
                  </a:cubicBezTo>
                  <a:lnTo>
                    <a:pt x="2473" y="3388"/>
                  </a:lnTo>
                  <a:cubicBezTo>
                    <a:pt x="2723" y="3636"/>
                    <a:pt x="3126" y="3636"/>
                    <a:pt x="3376" y="3388"/>
                  </a:cubicBezTo>
                  <a:lnTo>
                    <a:pt x="3395" y="3400"/>
                  </a:lnTo>
                  <a:close/>
                </a:path>
              </a:pathLst>
            </a:cu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F417AA9-3D43-4346-9172-9A7B0007E049}"/>
              </a:ext>
            </a:extLst>
          </p:cNvPr>
          <p:cNvSpPr/>
          <p:nvPr/>
        </p:nvSpPr>
        <p:spPr>
          <a:xfrm>
            <a:off x="6265281" y="3295507"/>
            <a:ext cx="2960621" cy="20428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/>
              <a:t>Selected Company</a:t>
            </a:r>
          </a:p>
          <a:p>
            <a:pPr algn="ctr"/>
            <a:endParaRPr lang="en-US" u="sng" dirty="0"/>
          </a:p>
          <a:p>
            <a:pPr algn="ctr"/>
            <a:r>
              <a:rPr lang="en-US" dirty="0"/>
              <a:t>……………………..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……………………..</a:t>
            </a:r>
          </a:p>
          <a:p>
            <a:pPr algn="ctr"/>
            <a:endParaRPr lang="en-US" u="sng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3E85242-0728-4F6E-828C-3406B659EC1F}"/>
              </a:ext>
            </a:extLst>
          </p:cNvPr>
          <p:cNvGrpSpPr/>
          <p:nvPr/>
        </p:nvGrpSpPr>
        <p:grpSpPr>
          <a:xfrm>
            <a:off x="4282770" y="5544724"/>
            <a:ext cx="2871601" cy="384048"/>
            <a:chOff x="4327442" y="5480929"/>
            <a:chExt cx="2871601" cy="384048"/>
          </a:xfrm>
        </p:grpSpPr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BD992A85-5F2E-4C24-A2F9-DFAC45DB63A0}"/>
                </a:ext>
              </a:extLst>
            </p:cNvPr>
            <p:cNvSpPr/>
            <p:nvPr/>
          </p:nvSpPr>
          <p:spPr>
            <a:xfrm>
              <a:off x="4327442" y="5480929"/>
              <a:ext cx="1768616" cy="38404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enerate Map</a:t>
              </a:r>
            </a:p>
          </p:txBody>
        </p: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9FF6F28B-53CF-43A4-81E5-8EEAD62BCFD3}"/>
                </a:ext>
              </a:extLst>
            </p:cNvPr>
            <p:cNvSpPr/>
            <p:nvPr/>
          </p:nvSpPr>
          <p:spPr>
            <a:xfrm>
              <a:off x="6296887" y="5480929"/>
              <a:ext cx="902156" cy="38404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Rese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155364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Compare company page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58252" y="1317401"/>
            <a:ext cx="9598788" cy="47140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9007919" y="1956571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565674" y="2741293"/>
            <a:ext cx="9060652" cy="335154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846289" y="2399161"/>
            <a:ext cx="1424548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Oth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897912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are Sect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4747058" y="2399161"/>
            <a:ext cx="1725522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ar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3131127" y="2399161"/>
            <a:ext cx="124789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IPO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59F7017-3906-49D3-ADFF-5C7B52347319}"/>
              </a:ext>
            </a:extLst>
          </p:cNvPr>
          <p:cNvSpPr txBox="1"/>
          <p:nvPr/>
        </p:nvSpPr>
        <p:spPr>
          <a:xfrm>
            <a:off x="4379024" y="2741293"/>
            <a:ext cx="2547492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Chart Gener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51C902A-C293-434F-B602-55B09315D3AC}"/>
              </a:ext>
            </a:extLst>
          </p:cNvPr>
          <p:cNvSpPr/>
          <p:nvPr/>
        </p:nvSpPr>
        <p:spPr>
          <a:xfrm>
            <a:off x="4349564" y="4353269"/>
            <a:ext cx="2691477" cy="420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Input Company Nam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8727C61-257F-414B-AF00-DCCDD36A7557}"/>
              </a:ext>
            </a:extLst>
          </p:cNvPr>
          <p:cNvGrpSpPr/>
          <p:nvPr/>
        </p:nvGrpSpPr>
        <p:grpSpPr>
          <a:xfrm>
            <a:off x="4337034" y="4887099"/>
            <a:ext cx="2693380" cy="420943"/>
            <a:chOff x="4061404" y="5455245"/>
            <a:chExt cx="3258990" cy="420943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96C0E226-8E2A-4AAC-A670-533290074F68}"/>
                </a:ext>
              </a:extLst>
            </p:cNvPr>
            <p:cNvSpPr/>
            <p:nvPr/>
          </p:nvSpPr>
          <p:spPr>
            <a:xfrm>
              <a:off x="4061404" y="5455245"/>
              <a:ext cx="1519269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rom Period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EB7E665-FBFF-4539-AAC6-0514C036F0FE}"/>
                </a:ext>
              </a:extLst>
            </p:cNvPr>
            <p:cNvSpPr/>
            <p:nvPr/>
          </p:nvSpPr>
          <p:spPr>
            <a:xfrm>
              <a:off x="5801126" y="5455245"/>
              <a:ext cx="1519268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rom Period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4C841806-B90F-4145-9A4E-741CC5ADCFBE}"/>
                </a:ext>
              </a:extLst>
            </p:cNvPr>
            <p:cNvSpPr/>
            <p:nvPr/>
          </p:nvSpPr>
          <p:spPr>
            <a:xfrm>
              <a:off x="5606062" y="5455245"/>
              <a:ext cx="169669" cy="42094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-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52ABF0A-C3ED-4E04-90AB-3E64C667634F}"/>
              </a:ext>
            </a:extLst>
          </p:cNvPr>
          <p:cNvGrpSpPr/>
          <p:nvPr/>
        </p:nvGrpSpPr>
        <p:grpSpPr>
          <a:xfrm>
            <a:off x="4349565" y="3295507"/>
            <a:ext cx="2691477" cy="420943"/>
            <a:chOff x="3861591" y="3359305"/>
            <a:chExt cx="3582357" cy="420943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1C5E146A-BE5D-4690-8FBD-904C76E0411A}"/>
                </a:ext>
              </a:extLst>
            </p:cNvPr>
            <p:cNvSpPr/>
            <p:nvPr/>
          </p:nvSpPr>
          <p:spPr>
            <a:xfrm>
              <a:off x="3861591" y="3359305"/>
              <a:ext cx="3582357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hart Type</a:t>
              </a:r>
            </a:p>
          </p:txBody>
        </p:sp>
        <p:sp>
          <p:nvSpPr>
            <p:cNvPr id="64" name="Rectangle 61">
              <a:extLst>
                <a:ext uri="{FF2B5EF4-FFF2-40B4-BE49-F238E27FC236}">
                  <a16:creationId xmlns:a16="http://schemas.microsoft.com/office/drawing/2014/main" id="{52E61E09-8424-4418-8528-DAF184AD2557}"/>
                </a:ext>
              </a:extLst>
            </p:cNvPr>
            <p:cNvSpPr/>
            <p:nvPr/>
          </p:nvSpPr>
          <p:spPr>
            <a:xfrm>
              <a:off x="6687323" y="3447801"/>
              <a:ext cx="478386" cy="290425"/>
            </a:xfrm>
            <a:custGeom>
              <a:avLst/>
              <a:gdLst>
                <a:gd name="T0" fmla="*/ 3395 w 5991"/>
                <a:gd name="T1" fmla="*/ 3400 h 3636"/>
                <a:gd name="T2" fmla="*/ 5744 w 5991"/>
                <a:gd name="T3" fmla="*/ 1103 h 3636"/>
                <a:gd name="T4" fmla="*/ 5892 w 5991"/>
                <a:gd name="T5" fmla="*/ 401 h 3636"/>
                <a:gd name="T6" fmla="*/ 5296 w 5991"/>
                <a:gd name="T7" fmla="*/ 2 h 3636"/>
                <a:gd name="T8" fmla="*/ 694 w 5991"/>
                <a:gd name="T9" fmla="*/ 2 h 3636"/>
                <a:gd name="T10" fmla="*/ 101 w 5991"/>
                <a:gd name="T11" fmla="*/ 392 h 3636"/>
                <a:gd name="T12" fmla="*/ 233 w 5991"/>
                <a:gd name="T13" fmla="*/ 1090 h 3636"/>
                <a:gd name="T14" fmla="*/ 2473 w 5991"/>
                <a:gd name="T15" fmla="*/ 3388 h 3636"/>
                <a:gd name="T16" fmla="*/ 3376 w 5991"/>
                <a:gd name="T17" fmla="*/ 3388 h 3636"/>
                <a:gd name="T18" fmla="*/ 3395 w 5991"/>
                <a:gd name="T19" fmla="*/ 3400 h 3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1" h="3636">
                  <a:moveTo>
                    <a:pt x="3395" y="3400"/>
                  </a:moveTo>
                  <a:lnTo>
                    <a:pt x="5744" y="1103"/>
                  </a:lnTo>
                  <a:cubicBezTo>
                    <a:pt x="5932" y="921"/>
                    <a:pt x="5991" y="643"/>
                    <a:pt x="5892" y="401"/>
                  </a:cubicBezTo>
                  <a:cubicBezTo>
                    <a:pt x="5794" y="158"/>
                    <a:pt x="5558" y="0"/>
                    <a:pt x="5296" y="2"/>
                  </a:cubicBezTo>
                  <a:lnTo>
                    <a:pt x="694" y="2"/>
                  </a:lnTo>
                  <a:cubicBezTo>
                    <a:pt x="436" y="0"/>
                    <a:pt x="202" y="154"/>
                    <a:pt x="101" y="392"/>
                  </a:cubicBezTo>
                  <a:cubicBezTo>
                    <a:pt x="0" y="630"/>
                    <a:pt x="53" y="905"/>
                    <a:pt x="233" y="1090"/>
                  </a:cubicBezTo>
                  <a:lnTo>
                    <a:pt x="2473" y="3388"/>
                  </a:lnTo>
                  <a:cubicBezTo>
                    <a:pt x="2723" y="3636"/>
                    <a:pt x="3126" y="3636"/>
                    <a:pt x="3376" y="3388"/>
                  </a:cubicBezTo>
                  <a:lnTo>
                    <a:pt x="3395" y="3400"/>
                  </a:lnTo>
                  <a:close/>
                </a:path>
              </a:pathLst>
            </a:cu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18C50AD0-9667-4D3F-8C38-BDC7EA56B903}"/>
              </a:ext>
            </a:extLst>
          </p:cNvPr>
          <p:cNvGrpSpPr/>
          <p:nvPr/>
        </p:nvGrpSpPr>
        <p:grpSpPr>
          <a:xfrm>
            <a:off x="4338937" y="3818630"/>
            <a:ext cx="2691477" cy="420943"/>
            <a:chOff x="4024426" y="3359305"/>
            <a:chExt cx="3256688" cy="420943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3096823-B5B2-4163-9D35-D77B39F6A3B2}"/>
                </a:ext>
              </a:extLst>
            </p:cNvPr>
            <p:cNvSpPr/>
            <p:nvPr/>
          </p:nvSpPr>
          <p:spPr>
            <a:xfrm>
              <a:off x="4024426" y="3359305"/>
              <a:ext cx="3256688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tock Exchange</a:t>
              </a:r>
            </a:p>
          </p:txBody>
        </p:sp>
        <p:sp>
          <p:nvSpPr>
            <p:cNvPr id="79" name="Rectangle 61">
              <a:extLst>
                <a:ext uri="{FF2B5EF4-FFF2-40B4-BE49-F238E27FC236}">
                  <a16:creationId xmlns:a16="http://schemas.microsoft.com/office/drawing/2014/main" id="{C132E1D0-D656-4DF2-83B6-811671991951}"/>
                </a:ext>
              </a:extLst>
            </p:cNvPr>
            <p:cNvSpPr/>
            <p:nvPr/>
          </p:nvSpPr>
          <p:spPr>
            <a:xfrm>
              <a:off x="6687323" y="3447801"/>
              <a:ext cx="478386" cy="290425"/>
            </a:xfrm>
            <a:custGeom>
              <a:avLst/>
              <a:gdLst>
                <a:gd name="T0" fmla="*/ 3395 w 5991"/>
                <a:gd name="T1" fmla="*/ 3400 h 3636"/>
                <a:gd name="T2" fmla="*/ 5744 w 5991"/>
                <a:gd name="T3" fmla="*/ 1103 h 3636"/>
                <a:gd name="T4" fmla="*/ 5892 w 5991"/>
                <a:gd name="T5" fmla="*/ 401 h 3636"/>
                <a:gd name="T6" fmla="*/ 5296 w 5991"/>
                <a:gd name="T7" fmla="*/ 2 h 3636"/>
                <a:gd name="T8" fmla="*/ 694 w 5991"/>
                <a:gd name="T9" fmla="*/ 2 h 3636"/>
                <a:gd name="T10" fmla="*/ 101 w 5991"/>
                <a:gd name="T11" fmla="*/ 392 h 3636"/>
                <a:gd name="T12" fmla="*/ 233 w 5991"/>
                <a:gd name="T13" fmla="*/ 1090 h 3636"/>
                <a:gd name="T14" fmla="*/ 2473 w 5991"/>
                <a:gd name="T15" fmla="*/ 3388 h 3636"/>
                <a:gd name="T16" fmla="*/ 3376 w 5991"/>
                <a:gd name="T17" fmla="*/ 3388 h 3636"/>
                <a:gd name="T18" fmla="*/ 3395 w 5991"/>
                <a:gd name="T19" fmla="*/ 3400 h 3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1" h="3636">
                  <a:moveTo>
                    <a:pt x="3395" y="3400"/>
                  </a:moveTo>
                  <a:lnTo>
                    <a:pt x="5744" y="1103"/>
                  </a:lnTo>
                  <a:cubicBezTo>
                    <a:pt x="5932" y="921"/>
                    <a:pt x="5991" y="643"/>
                    <a:pt x="5892" y="401"/>
                  </a:cubicBezTo>
                  <a:cubicBezTo>
                    <a:pt x="5794" y="158"/>
                    <a:pt x="5558" y="0"/>
                    <a:pt x="5296" y="2"/>
                  </a:cubicBezTo>
                  <a:lnTo>
                    <a:pt x="694" y="2"/>
                  </a:lnTo>
                  <a:cubicBezTo>
                    <a:pt x="436" y="0"/>
                    <a:pt x="202" y="154"/>
                    <a:pt x="101" y="392"/>
                  </a:cubicBezTo>
                  <a:cubicBezTo>
                    <a:pt x="0" y="630"/>
                    <a:pt x="53" y="905"/>
                    <a:pt x="233" y="1090"/>
                  </a:cubicBezTo>
                  <a:lnTo>
                    <a:pt x="2473" y="3388"/>
                  </a:lnTo>
                  <a:cubicBezTo>
                    <a:pt x="2723" y="3636"/>
                    <a:pt x="3126" y="3636"/>
                    <a:pt x="3376" y="3388"/>
                  </a:cubicBezTo>
                  <a:lnTo>
                    <a:pt x="3395" y="3400"/>
                  </a:lnTo>
                  <a:close/>
                </a:path>
              </a:pathLst>
            </a:cu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BD992A85-5F2E-4C24-A2F9-DFAC45DB63A0}"/>
              </a:ext>
            </a:extLst>
          </p:cNvPr>
          <p:cNvSpPr/>
          <p:nvPr/>
        </p:nvSpPr>
        <p:spPr>
          <a:xfrm>
            <a:off x="4514895" y="5501595"/>
            <a:ext cx="2339962" cy="384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enerate Ma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2266FE8-5AB0-4A88-AE07-009E45FF4BFC}"/>
              </a:ext>
            </a:extLst>
          </p:cNvPr>
          <p:cNvSpPr/>
          <p:nvPr/>
        </p:nvSpPr>
        <p:spPr>
          <a:xfrm>
            <a:off x="3685813" y="2802912"/>
            <a:ext cx="6103089" cy="308344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7C99AB7D-B509-45F7-8C1D-078FCD75F4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5999573"/>
              </p:ext>
            </p:extLst>
          </p:nvPr>
        </p:nvGraphicFramePr>
        <p:xfrm>
          <a:off x="4282355" y="3096943"/>
          <a:ext cx="3646466" cy="2340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A764A25-799F-4BE5-B9EF-A8B8E899A7D0}"/>
              </a:ext>
            </a:extLst>
          </p:cNvPr>
          <p:cNvSpPr/>
          <p:nvPr/>
        </p:nvSpPr>
        <p:spPr>
          <a:xfrm>
            <a:off x="5724741" y="5471926"/>
            <a:ext cx="820142" cy="384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42529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Compare sector page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8564" y="1355728"/>
            <a:ext cx="9598788" cy="47140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9356565" y="1985131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847076" y="2378249"/>
            <a:ext cx="1541089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Other</a:t>
            </a:r>
            <a:endParaRPr lang="en-US" sz="1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7036739" y="2378249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are Sect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4969118" y="2369129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ar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2836883" y="2374563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IPO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59F7017-3906-49D3-ADFF-5C7B52347319}"/>
              </a:ext>
            </a:extLst>
          </p:cNvPr>
          <p:cNvSpPr txBox="1"/>
          <p:nvPr/>
        </p:nvSpPr>
        <p:spPr>
          <a:xfrm>
            <a:off x="4379024" y="2741293"/>
            <a:ext cx="2547492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Chart Gener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51C902A-C293-434F-B602-55B09315D3AC}"/>
              </a:ext>
            </a:extLst>
          </p:cNvPr>
          <p:cNvSpPr/>
          <p:nvPr/>
        </p:nvSpPr>
        <p:spPr>
          <a:xfrm>
            <a:off x="2875048" y="4373607"/>
            <a:ext cx="2960624" cy="38404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ector Nam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8727C61-257F-414B-AF00-DCCDD36A7557}"/>
              </a:ext>
            </a:extLst>
          </p:cNvPr>
          <p:cNvGrpSpPr/>
          <p:nvPr/>
        </p:nvGrpSpPr>
        <p:grpSpPr>
          <a:xfrm>
            <a:off x="2878536" y="4887099"/>
            <a:ext cx="2962721" cy="420943"/>
            <a:chOff x="4061404" y="5455245"/>
            <a:chExt cx="3258995" cy="420943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96C0E226-8E2A-4AAC-A670-533290074F68}"/>
                </a:ext>
              </a:extLst>
            </p:cNvPr>
            <p:cNvSpPr/>
            <p:nvPr/>
          </p:nvSpPr>
          <p:spPr>
            <a:xfrm>
              <a:off x="4061404" y="5455245"/>
              <a:ext cx="1519269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/>
                <a:t>01/01/2020</a:t>
              </a:r>
              <a:endParaRPr lang="en-US" sz="1400" dirty="0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EB7E665-FBFF-4539-AAC6-0514C036F0FE}"/>
                </a:ext>
              </a:extLst>
            </p:cNvPr>
            <p:cNvSpPr/>
            <p:nvPr/>
          </p:nvSpPr>
          <p:spPr>
            <a:xfrm>
              <a:off x="5801131" y="5455245"/>
              <a:ext cx="1519268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/>
                <a:t>05/31/2020</a:t>
              </a:r>
              <a:endParaRPr lang="en-US" sz="1400" dirty="0"/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4C841806-B90F-4145-9A4E-741CC5ADCFBE}"/>
                </a:ext>
              </a:extLst>
            </p:cNvPr>
            <p:cNvSpPr/>
            <p:nvPr/>
          </p:nvSpPr>
          <p:spPr>
            <a:xfrm>
              <a:off x="5606062" y="5455245"/>
              <a:ext cx="169669" cy="42094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-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52ABF0A-C3ED-4E04-90AB-3E64C667634F}"/>
              </a:ext>
            </a:extLst>
          </p:cNvPr>
          <p:cNvGrpSpPr/>
          <p:nvPr/>
        </p:nvGrpSpPr>
        <p:grpSpPr>
          <a:xfrm>
            <a:off x="2875048" y="3295507"/>
            <a:ext cx="2960625" cy="420943"/>
            <a:chOff x="3861591" y="3359305"/>
            <a:chExt cx="3582357" cy="420943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1C5E146A-BE5D-4690-8FBD-904C76E0411A}"/>
                </a:ext>
              </a:extLst>
            </p:cNvPr>
            <p:cNvSpPr/>
            <p:nvPr/>
          </p:nvSpPr>
          <p:spPr>
            <a:xfrm>
              <a:off x="3861591" y="3359305"/>
              <a:ext cx="3582357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hart Type</a:t>
              </a:r>
            </a:p>
          </p:txBody>
        </p:sp>
        <p:sp>
          <p:nvSpPr>
            <p:cNvPr id="64" name="Rectangle 61">
              <a:extLst>
                <a:ext uri="{FF2B5EF4-FFF2-40B4-BE49-F238E27FC236}">
                  <a16:creationId xmlns:a16="http://schemas.microsoft.com/office/drawing/2014/main" id="{52E61E09-8424-4418-8528-DAF184AD2557}"/>
                </a:ext>
              </a:extLst>
            </p:cNvPr>
            <p:cNvSpPr/>
            <p:nvPr/>
          </p:nvSpPr>
          <p:spPr>
            <a:xfrm>
              <a:off x="6687323" y="3447801"/>
              <a:ext cx="478386" cy="290425"/>
            </a:xfrm>
            <a:custGeom>
              <a:avLst/>
              <a:gdLst>
                <a:gd name="T0" fmla="*/ 3395 w 5991"/>
                <a:gd name="T1" fmla="*/ 3400 h 3636"/>
                <a:gd name="T2" fmla="*/ 5744 w 5991"/>
                <a:gd name="T3" fmla="*/ 1103 h 3636"/>
                <a:gd name="T4" fmla="*/ 5892 w 5991"/>
                <a:gd name="T5" fmla="*/ 401 h 3636"/>
                <a:gd name="T6" fmla="*/ 5296 w 5991"/>
                <a:gd name="T7" fmla="*/ 2 h 3636"/>
                <a:gd name="T8" fmla="*/ 694 w 5991"/>
                <a:gd name="T9" fmla="*/ 2 h 3636"/>
                <a:gd name="T10" fmla="*/ 101 w 5991"/>
                <a:gd name="T11" fmla="*/ 392 h 3636"/>
                <a:gd name="T12" fmla="*/ 233 w 5991"/>
                <a:gd name="T13" fmla="*/ 1090 h 3636"/>
                <a:gd name="T14" fmla="*/ 2473 w 5991"/>
                <a:gd name="T15" fmla="*/ 3388 h 3636"/>
                <a:gd name="T16" fmla="*/ 3376 w 5991"/>
                <a:gd name="T17" fmla="*/ 3388 h 3636"/>
                <a:gd name="T18" fmla="*/ 3395 w 5991"/>
                <a:gd name="T19" fmla="*/ 3400 h 3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1" h="3636">
                  <a:moveTo>
                    <a:pt x="3395" y="3400"/>
                  </a:moveTo>
                  <a:lnTo>
                    <a:pt x="5744" y="1103"/>
                  </a:lnTo>
                  <a:cubicBezTo>
                    <a:pt x="5932" y="921"/>
                    <a:pt x="5991" y="643"/>
                    <a:pt x="5892" y="401"/>
                  </a:cubicBezTo>
                  <a:cubicBezTo>
                    <a:pt x="5794" y="158"/>
                    <a:pt x="5558" y="0"/>
                    <a:pt x="5296" y="2"/>
                  </a:cubicBezTo>
                  <a:lnTo>
                    <a:pt x="694" y="2"/>
                  </a:lnTo>
                  <a:cubicBezTo>
                    <a:pt x="436" y="0"/>
                    <a:pt x="202" y="154"/>
                    <a:pt x="101" y="392"/>
                  </a:cubicBezTo>
                  <a:cubicBezTo>
                    <a:pt x="0" y="630"/>
                    <a:pt x="53" y="905"/>
                    <a:pt x="233" y="1090"/>
                  </a:cubicBezTo>
                  <a:lnTo>
                    <a:pt x="2473" y="3388"/>
                  </a:lnTo>
                  <a:cubicBezTo>
                    <a:pt x="2723" y="3636"/>
                    <a:pt x="3126" y="3636"/>
                    <a:pt x="3376" y="3388"/>
                  </a:cubicBezTo>
                  <a:lnTo>
                    <a:pt x="3395" y="3400"/>
                  </a:lnTo>
                  <a:close/>
                </a:path>
              </a:pathLst>
            </a:cu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sp>
        <p:nvSpPr>
          <p:cNvPr id="82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5210609" y="4395798"/>
            <a:ext cx="384343" cy="325391"/>
          </a:xfrm>
          <a:custGeom>
            <a:avLst/>
            <a:gdLst>
              <a:gd name="T0" fmla="*/ 2466 w 4933"/>
              <a:gd name="T1" fmla="*/ 0 h 4933"/>
              <a:gd name="T2" fmla="*/ 0 w 4933"/>
              <a:gd name="T3" fmla="*/ 2466 h 4933"/>
              <a:gd name="T4" fmla="*/ 2466 w 4933"/>
              <a:gd name="T5" fmla="*/ 4933 h 4933"/>
              <a:gd name="T6" fmla="*/ 4933 w 4933"/>
              <a:gd name="T7" fmla="*/ 2466 h 4933"/>
              <a:gd name="T8" fmla="*/ 2466 w 4933"/>
              <a:gd name="T9" fmla="*/ 0 h 4933"/>
              <a:gd name="T10" fmla="*/ 3421 w 4933"/>
              <a:gd name="T11" fmla="*/ 2546 h 4933"/>
              <a:gd name="T12" fmla="*/ 2546 w 4933"/>
              <a:gd name="T13" fmla="*/ 2546 h 4933"/>
              <a:gd name="T14" fmla="*/ 2546 w 4933"/>
              <a:gd name="T15" fmla="*/ 3421 h 4933"/>
              <a:gd name="T16" fmla="*/ 2387 w 4933"/>
              <a:gd name="T17" fmla="*/ 3421 h 4933"/>
              <a:gd name="T18" fmla="*/ 2387 w 4933"/>
              <a:gd name="T19" fmla="*/ 2546 h 4933"/>
              <a:gd name="T20" fmla="*/ 1512 w 4933"/>
              <a:gd name="T21" fmla="*/ 2546 h 4933"/>
              <a:gd name="T22" fmla="*/ 1512 w 4933"/>
              <a:gd name="T23" fmla="*/ 2387 h 4933"/>
              <a:gd name="T24" fmla="*/ 2387 w 4933"/>
              <a:gd name="T25" fmla="*/ 2387 h 4933"/>
              <a:gd name="T26" fmla="*/ 2387 w 4933"/>
              <a:gd name="T27" fmla="*/ 1512 h 4933"/>
              <a:gd name="T28" fmla="*/ 2546 w 4933"/>
              <a:gd name="T29" fmla="*/ 1512 h 4933"/>
              <a:gd name="T30" fmla="*/ 2546 w 4933"/>
              <a:gd name="T31" fmla="*/ 2387 h 4933"/>
              <a:gd name="T32" fmla="*/ 3421 w 4933"/>
              <a:gd name="T33" fmla="*/ 2387 h 4933"/>
              <a:gd name="T34" fmla="*/ 3421 w 4933"/>
              <a:gd name="T35" fmla="*/ 2546 h 49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33" h="4933">
                <a:moveTo>
                  <a:pt x="2466" y="0"/>
                </a:moveTo>
                <a:cubicBezTo>
                  <a:pt x="1106" y="0"/>
                  <a:pt x="0" y="1106"/>
                  <a:pt x="0" y="2466"/>
                </a:cubicBezTo>
                <a:cubicBezTo>
                  <a:pt x="0" y="3826"/>
                  <a:pt x="1106" y="4933"/>
                  <a:pt x="2466" y="4933"/>
                </a:cubicBezTo>
                <a:cubicBezTo>
                  <a:pt x="3826" y="4933"/>
                  <a:pt x="4933" y="3826"/>
                  <a:pt x="4933" y="2466"/>
                </a:cubicBezTo>
                <a:cubicBezTo>
                  <a:pt x="4933" y="1106"/>
                  <a:pt x="3826" y="0"/>
                  <a:pt x="2466" y="0"/>
                </a:cubicBezTo>
                <a:close/>
                <a:moveTo>
                  <a:pt x="3421" y="2546"/>
                </a:moveTo>
                <a:lnTo>
                  <a:pt x="2546" y="2546"/>
                </a:lnTo>
                <a:lnTo>
                  <a:pt x="2546" y="3421"/>
                </a:lnTo>
                <a:lnTo>
                  <a:pt x="2387" y="3421"/>
                </a:lnTo>
                <a:lnTo>
                  <a:pt x="2387" y="2546"/>
                </a:lnTo>
                <a:lnTo>
                  <a:pt x="1512" y="2546"/>
                </a:lnTo>
                <a:lnTo>
                  <a:pt x="1512" y="2387"/>
                </a:lnTo>
                <a:lnTo>
                  <a:pt x="2387" y="2387"/>
                </a:lnTo>
                <a:lnTo>
                  <a:pt x="2387" y="1512"/>
                </a:lnTo>
                <a:lnTo>
                  <a:pt x="2546" y="1512"/>
                </a:lnTo>
                <a:lnTo>
                  <a:pt x="2546" y="2387"/>
                </a:lnTo>
                <a:lnTo>
                  <a:pt x="3421" y="2387"/>
                </a:lnTo>
                <a:lnTo>
                  <a:pt x="3421" y="2546"/>
                </a:ln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69DCAFA0-6449-49AC-B3B8-6C031D390654}"/>
              </a:ext>
            </a:extLst>
          </p:cNvPr>
          <p:cNvSpPr/>
          <p:nvPr/>
        </p:nvSpPr>
        <p:spPr>
          <a:xfrm>
            <a:off x="1519531" y="2725066"/>
            <a:ext cx="9060652" cy="3351548"/>
          </a:xfrm>
          <a:prstGeom prst="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4BE8994-4EF5-445C-A769-D0878F4B53AA}"/>
              </a:ext>
            </a:extLst>
          </p:cNvPr>
          <p:cNvGrpSpPr/>
          <p:nvPr/>
        </p:nvGrpSpPr>
        <p:grpSpPr>
          <a:xfrm>
            <a:off x="2875048" y="3830775"/>
            <a:ext cx="2960625" cy="420943"/>
            <a:chOff x="3861591" y="3359305"/>
            <a:chExt cx="3582357" cy="420943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51CED4A0-63D1-47C1-861C-4477CD8111B0}"/>
                </a:ext>
              </a:extLst>
            </p:cNvPr>
            <p:cNvSpPr/>
            <p:nvPr/>
          </p:nvSpPr>
          <p:spPr>
            <a:xfrm>
              <a:off x="3861591" y="3359305"/>
              <a:ext cx="3582357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Exchange</a:t>
              </a:r>
            </a:p>
          </p:txBody>
        </p:sp>
        <p:sp>
          <p:nvSpPr>
            <p:cNvPr id="87" name="Rectangle 61">
              <a:extLst>
                <a:ext uri="{FF2B5EF4-FFF2-40B4-BE49-F238E27FC236}">
                  <a16:creationId xmlns:a16="http://schemas.microsoft.com/office/drawing/2014/main" id="{64881365-C950-4FDF-97B7-006E1B2393E3}"/>
                </a:ext>
              </a:extLst>
            </p:cNvPr>
            <p:cNvSpPr/>
            <p:nvPr/>
          </p:nvSpPr>
          <p:spPr>
            <a:xfrm>
              <a:off x="6687323" y="3447801"/>
              <a:ext cx="478386" cy="290425"/>
            </a:xfrm>
            <a:custGeom>
              <a:avLst/>
              <a:gdLst>
                <a:gd name="T0" fmla="*/ 3395 w 5991"/>
                <a:gd name="T1" fmla="*/ 3400 h 3636"/>
                <a:gd name="T2" fmla="*/ 5744 w 5991"/>
                <a:gd name="T3" fmla="*/ 1103 h 3636"/>
                <a:gd name="T4" fmla="*/ 5892 w 5991"/>
                <a:gd name="T5" fmla="*/ 401 h 3636"/>
                <a:gd name="T6" fmla="*/ 5296 w 5991"/>
                <a:gd name="T7" fmla="*/ 2 h 3636"/>
                <a:gd name="T8" fmla="*/ 694 w 5991"/>
                <a:gd name="T9" fmla="*/ 2 h 3636"/>
                <a:gd name="T10" fmla="*/ 101 w 5991"/>
                <a:gd name="T11" fmla="*/ 392 h 3636"/>
                <a:gd name="T12" fmla="*/ 233 w 5991"/>
                <a:gd name="T13" fmla="*/ 1090 h 3636"/>
                <a:gd name="T14" fmla="*/ 2473 w 5991"/>
                <a:gd name="T15" fmla="*/ 3388 h 3636"/>
                <a:gd name="T16" fmla="*/ 3376 w 5991"/>
                <a:gd name="T17" fmla="*/ 3388 h 3636"/>
                <a:gd name="T18" fmla="*/ 3395 w 5991"/>
                <a:gd name="T19" fmla="*/ 3400 h 3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1" h="3636">
                  <a:moveTo>
                    <a:pt x="3395" y="3400"/>
                  </a:moveTo>
                  <a:lnTo>
                    <a:pt x="5744" y="1103"/>
                  </a:lnTo>
                  <a:cubicBezTo>
                    <a:pt x="5932" y="921"/>
                    <a:pt x="5991" y="643"/>
                    <a:pt x="5892" y="401"/>
                  </a:cubicBezTo>
                  <a:cubicBezTo>
                    <a:pt x="5794" y="158"/>
                    <a:pt x="5558" y="0"/>
                    <a:pt x="5296" y="2"/>
                  </a:cubicBezTo>
                  <a:lnTo>
                    <a:pt x="694" y="2"/>
                  </a:lnTo>
                  <a:cubicBezTo>
                    <a:pt x="436" y="0"/>
                    <a:pt x="202" y="154"/>
                    <a:pt x="101" y="392"/>
                  </a:cubicBezTo>
                  <a:cubicBezTo>
                    <a:pt x="0" y="630"/>
                    <a:pt x="53" y="905"/>
                    <a:pt x="233" y="1090"/>
                  </a:cubicBezTo>
                  <a:lnTo>
                    <a:pt x="2473" y="3388"/>
                  </a:lnTo>
                  <a:cubicBezTo>
                    <a:pt x="2723" y="3636"/>
                    <a:pt x="3126" y="3636"/>
                    <a:pt x="3376" y="3388"/>
                  </a:cubicBezTo>
                  <a:lnTo>
                    <a:pt x="3395" y="3400"/>
                  </a:lnTo>
                  <a:close/>
                </a:path>
              </a:pathLst>
            </a:cu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F417AA9-3D43-4346-9172-9A7B0007E049}"/>
              </a:ext>
            </a:extLst>
          </p:cNvPr>
          <p:cNvSpPr/>
          <p:nvPr/>
        </p:nvSpPr>
        <p:spPr>
          <a:xfrm>
            <a:off x="6265281" y="3295507"/>
            <a:ext cx="2960621" cy="20428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u="sng" dirty="0"/>
              <a:t>Selected Sector</a:t>
            </a:r>
          </a:p>
          <a:p>
            <a:pPr algn="ctr"/>
            <a:endParaRPr lang="en-US" u="sng" dirty="0"/>
          </a:p>
          <a:p>
            <a:pPr algn="ctr"/>
            <a:r>
              <a:rPr lang="en-US" dirty="0"/>
              <a:t>……………………..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……………………..</a:t>
            </a:r>
          </a:p>
          <a:p>
            <a:pPr algn="ctr"/>
            <a:endParaRPr lang="en-US" u="sng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3E85242-0728-4F6E-828C-3406B659EC1F}"/>
              </a:ext>
            </a:extLst>
          </p:cNvPr>
          <p:cNvGrpSpPr/>
          <p:nvPr/>
        </p:nvGrpSpPr>
        <p:grpSpPr>
          <a:xfrm>
            <a:off x="4293338" y="5544724"/>
            <a:ext cx="2861033" cy="384048"/>
            <a:chOff x="4338010" y="5480929"/>
            <a:chExt cx="2861033" cy="384048"/>
          </a:xfrm>
        </p:grpSpPr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BD992A85-5F2E-4C24-A2F9-DFAC45DB63A0}"/>
                </a:ext>
              </a:extLst>
            </p:cNvPr>
            <p:cNvSpPr/>
            <p:nvPr/>
          </p:nvSpPr>
          <p:spPr>
            <a:xfrm>
              <a:off x="4338010" y="5480929"/>
              <a:ext cx="1758048" cy="38404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enerate Map</a:t>
              </a:r>
            </a:p>
          </p:txBody>
        </p:sp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9FF6F28B-53CF-43A4-81E5-8EEAD62BCFD3}"/>
                </a:ext>
              </a:extLst>
            </p:cNvPr>
            <p:cNvSpPr/>
            <p:nvPr/>
          </p:nvSpPr>
          <p:spPr>
            <a:xfrm>
              <a:off x="6296887" y="5480929"/>
              <a:ext cx="902156" cy="38404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Rese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861858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Compare company page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8564" y="1355728"/>
            <a:ext cx="9598788" cy="47140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8922849" y="2032750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565674" y="2741293"/>
            <a:ext cx="9060652" cy="335154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821272" y="2399161"/>
            <a:ext cx="1264838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Other</a:t>
            </a:r>
            <a:endParaRPr lang="en-US" sz="1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7003060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are Sect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5159832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Compar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3044456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IPO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59F7017-3906-49D3-ADFF-5C7B52347319}"/>
              </a:ext>
            </a:extLst>
          </p:cNvPr>
          <p:cNvSpPr txBox="1"/>
          <p:nvPr/>
        </p:nvSpPr>
        <p:spPr>
          <a:xfrm>
            <a:off x="4379024" y="2741293"/>
            <a:ext cx="2547492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Chart Gener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51C902A-C293-434F-B602-55B09315D3AC}"/>
              </a:ext>
            </a:extLst>
          </p:cNvPr>
          <p:cNvSpPr/>
          <p:nvPr/>
        </p:nvSpPr>
        <p:spPr>
          <a:xfrm>
            <a:off x="4349564" y="4353269"/>
            <a:ext cx="2691477" cy="420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Input Company Nam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8727C61-257F-414B-AF00-DCCDD36A7557}"/>
              </a:ext>
            </a:extLst>
          </p:cNvPr>
          <p:cNvGrpSpPr/>
          <p:nvPr/>
        </p:nvGrpSpPr>
        <p:grpSpPr>
          <a:xfrm>
            <a:off x="4337034" y="4887099"/>
            <a:ext cx="2693380" cy="420943"/>
            <a:chOff x="4061404" y="5455245"/>
            <a:chExt cx="3258990" cy="420943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96C0E226-8E2A-4AAC-A670-533290074F68}"/>
                </a:ext>
              </a:extLst>
            </p:cNvPr>
            <p:cNvSpPr/>
            <p:nvPr/>
          </p:nvSpPr>
          <p:spPr>
            <a:xfrm>
              <a:off x="4061404" y="5455245"/>
              <a:ext cx="1519269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rom Period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EB7E665-FBFF-4539-AAC6-0514C036F0FE}"/>
                </a:ext>
              </a:extLst>
            </p:cNvPr>
            <p:cNvSpPr/>
            <p:nvPr/>
          </p:nvSpPr>
          <p:spPr>
            <a:xfrm>
              <a:off x="5801126" y="5455245"/>
              <a:ext cx="1519268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From Period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4C841806-B90F-4145-9A4E-741CC5ADCFBE}"/>
                </a:ext>
              </a:extLst>
            </p:cNvPr>
            <p:cNvSpPr/>
            <p:nvPr/>
          </p:nvSpPr>
          <p:spPr>
            <a:xfrm>
              <a:off x="5606062" y="5455245"/>
              <a:ext cx="169669" cy="42094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-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52ABF0A-C3ED-4E04-90AB-3E64C667634F}"/>
              </a:ext>
            </a:extLst>
          </p:cNvPr>
          <p:cNvGrpSpPr/>
          <p:nvPr/>
        </p:nvGrpSpPr>
        <p:grpSpPr>
          <a:xfrm>
            <a:off x="4349565" y="3295507"/>
            <a:ext cx="2691477" cy="420943"/>
            <a:chOff x="3861591" y="3359305"/>
            <a:chExt cx="3582357" cy="420943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1C5E146A-BE5D-4690-8FBD-904C76E0411A}"/>
                </a:ext>
              </a:extLst>
            </p:cNvPr>
            <p:cNvSpPr/>
            <p:nvPr/>
          </p:nvSpPr>
          <p:spPr>
            <a:xfrm>
              <a:off x="3861591" y="3359305"/>
              <a:ext cx="3582357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hart Type</a:t>
              </a:r>
            </a:p>
          </p:txBody>
        </p:sp>
        <p:sp>
          <p:nvSpPr>
            <p:cNvPr id="64" name="Rectangle 61">
              <a:extLst>
                <a:ext uri="{FF2B5EF4-FFF2-40B4-BE49-F238E27FC236}">
                  <a16:creationId xmlns:a16="http://schemas.microsoft.com/office/drawing/2014/main" id="{52E61E09-8424-4418-8528-DAF184AD2557}"/>
                </a:ext>
              </a:extLst>
            </p:cNvPr>
            <p:cNvSpPr/>
            <p:nvPr/>
          </p:nvSpPr>
          <p:spPr>
            <a:xfrm>
              <a:off x="6687323" y="3447801"/>
              <a:ext cx="478386" cy="290425"/>
            </a:xfrm>
            <a:custGeom>
              <a:avLst/>
              <a:gdLst>
                <a:gd name="T0" fmla="*/ 3395 w 5991"/>
                <a:gd name="T1" fmla="*/ 3400 h 3636"/>
                <a:gd name="T2" fmla="*/ 5744 w 5991"/>
                <a:gd name="T3" fmla="*/ 1103 h 3636"/>
                <a:gd name="T4" fmla="*/ 5892 w 5991"/>
                <a:gd name="T5" fmla="*/ 401 h 3636"/>
                <a:gd name="T6" fmla="*/ 5296 w 5991"/>
                <a:gd name="T7" fmla="*/ 2 h 3636"/>
                <a:gd name="T8" fmla="*/ 694 w 5991"/>
                <a:gd name="T9" fmla="*/ 2 h 3636"/>
                <a:gd name="T10" fmla="*/ 101 w 5991"/>
                <a:gd name="T11" fmla="*/ 392 h 3636"/>
                <a:gd name="T12" fmla="*/ 233 w 5991"/>
                <a:gd name="T13" fmla="*/ 1090 h 3636"/>
                <a:gd name="T14" fmla="*/ 2473 w 5991"/>
                <a:gd name="T15" fmla="*/ 3388 h 3636"/>
                <a:gd name="T16" fmla="*/ 3376 w 5991"/>
                <a:gd name="T17" fmla="*/ 3388 h 3636"/>
                <a:gd name="T18" fmla="*/ 3395 w 5991"/>
                <a:gd name="T19" fmla="*/ 3400 h 3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1" h="3636">
                  <a:moveTo>
                    <a:pt x="3395" y="3400"/>
                  </a:moveTo>
                  <a:lnTo>
                    <a:pt x="5744" y="1103"/>
                  </a:lnTo>
                  <a:cubicBezTo>
                    <a:pt x="5932" y="921"/>
                    <a:pt x="5991" y="643"/>
                    <a:pt x="5892" y="401"/>
                  </a:cubicBezTo>
                  <a:cubicBezTo>
                    <a:pt x="5794" y="158"/>
                    <a:pt x="5558" y="0"/>
                    <a:pt x="5296" y="2"/>
                  </a:cubicBezTo>
                  <a:lnTo>
                    <a:pt x="694" y="2"/>
                  </a:lnTo>
                  <a:cubicBezTo>
                    <a:pt x="436" y="0"/>
                    <a:pt x="202" y="154"/>
                    <a:pt x="101" y="392"/>
                  </a:cubicBezTo>
                  <a:cubicBezTo>
                    <a:pt x="0" y="630"/>
                    <a:pt x="53" y="905"/>
                    <a:pt x="233" y="1090"/>
                  </a:cubicBezTo>
                  <a:lnTo>
                    <a:pt x="2473" y="3388"/>
                  </a:lnTo>
                  <a:cubicBezTo>
                    <a:pt x="2723" y="3636"/>
                    <a:pt x="3126" y="3636"/>
                    <a:pt x="3376" y="3388"/>
                  </a:cubicBezTo>
                  <a:lnTo>
                    <a:pt x="3395" y="3400"/>
                  </a:lnTo>
                  <a:close/>
                </a:path>
              </a:pathLst>
            </a:cu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18C50AD0-9667-4D3F-8C38-BDC7EA56B903}"/>
              </a:ext>
            </a:extLst>
          </p:cNvPr>
          <p:cNvGrpSpPr/>
          <p:nvPr/>
        </p:nvGrpSpPr>
        <p:grpSpPr>
          <a:xfrm>
            <a:off x="4338937" y="3818630"/>
            <a:ext cx="2691477" cy="420943"/>
            <a:chOff x="4024426" y="3359305"/>
            <a:chExt cx="3256688" cy="420943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3096823-B5B2-4163-9D35-D77B39F6A3B2}"/>
                </a:ext>
              </a:extLst>
            </p:cNvPr>
            <p:cNvSpPr/>
            <p:nvPr/>
          </p:nvSpPr>
          <p:spPr>
            <a:xfrm>
              <a:off x="4024426" y="3359305"/>
              <a:ext cx="3256688" cy="420943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tock Exchange</a:t>
              </a:r>
            </a:p>
          </p:txBody>
        </p:sp>
        <p:sp>
          <p:nvSpPr>
            <p:cNvPr id="79" name="Rectangle 61">
              <a:extLst>
                <a:ext uri="{FF2B5EF4-FFF2-40B4-BE49-F238E27FC236}">
                  <a16:creationId xmlns:a16="http://schemas.microsoft.com/office/drawing/2014/main" id="{C132E1D0-D656-4DF2-83B6-811671991951}"/>
                </a:ext>
              </a:extLst>
            </p:cNvPr>
            <p:cNvSpPr/>
            <p:nvPr/>
          </p:nvSpPr>
          <p:spPr>
            <a:xfrm>
              <a:off x="6687323" y="3447801"/>
              <a:ext cx="478386" cy="290425"/>
            </a:xfrm>
            <a:custGeom>
              <a:avLst/>
              <a:gdLst>
                <a:gd name="T0" fmla="*/ 3395 w 5991"/>
                <a:gd name="T1" fmla="*/ 3400 h 3636"/>
                <a:gd name="T2" fmla="*/ 5744 w 5991"/>
                <a:gd name="T3" fmla="*/ 1103 h 3636"/>
                <a:gd name="T4" fmla="*/ 5892 w 5991"/>
                <a:gd name="T5" fmla="*/ 401 h 3636"/>
                <a:gd name="T6" fmla="*/ 5296 w 5991"/>
                <a:gd name="T7" fmla="*/ 2 h 3636"/>
                <a:gd name="T8" fmla="*/ 694 w 5991"/>
                <a:gd name="T9" fmla="*/ 2 h 3636"/>
                <a:gd name="T10" fmla="*/ 101 w 5991"/>
                <a:gd name="T11" fmla="*/ 392 h 3636"/>
                <a:gd name="T12" fmla="*/ 233 w 5991"/>
                <a:gd name="T13" fmla="*/ 1090 h 3636"/>
                <a:gd name="T14" fmla="*/ 2473 w 5991"/>
                <a:gd name="T15" fmla="*/ 3388 h 3636"/>
                <a:gd name="T16" fmla="*/ 3376 w 5991"/>
                <a:gd name="T17" fmla="*/ 3388 h 3636"/>
                <a:gd name="T18" fmla="*/ 3395 w 5991"/>
                <a:gd name="T19" fmla="*/ 3400 h 3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1" h="3636">
                  <a:moveTo>
                    <a:pt x="3395" y="3400"/>
                  </a:moveTo>
                  <a:lnTo>
                    <a:pt x="5744" y="1103"/>
                  </a:lnTo>
                  <a:cubicBezTo>
                    <a:pt x="5932" y="921"/>
                    <a:pt x="5991" y="643"/>
                    <a:pt x="5892" y="401"/>
                  </a:cubicBezTo>
                  <a:cubicBezTo>
                    <a:pt x="5794" y="158"/>
                    <a:pt x="5558" y="0"/>
                    <a:pt x="5296" y="2"/>
                  </a:cubicBezTo>
                  <a:lnTo>
                    <a:pt x="694" y="2"/>
                  </a:lnTo>
                  <a:cubicBezTo>
                    <a:pt x="436" y="0"/>
                    <a:pt x="202" y="154"/>
                    <a:pt x="101" y="392"/>
                  </a:cubicBezTo>
                  <a:cubicBezTo>
                    <a:pt x="0" y="630"/>
                    <a:pt x="53" y="905"/>
                    <a:pt x="233" y="1090"/>
                  </a:cubicBezTo>
                  <a:lnTo>
                    <a:pt x="2473" y="3388"/>
                  </a:lnTo>
                  <a:cubicBezTo>
                    <a:pt x="2723" y="3636"/>
                    <a:pt x="3126" y="3636"/>
                    <a:pt x="3376" y="3388"/>
                  </a:cubicBezTo>
                  <a:lnTo>
                    <a:pt x="3395" y="3400"/>
                  </a:lnTo>
                  <a:close/>
                </a:path>
              </a:pathLst>
            </a:cu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BD992A85-5F2E-4C24-A2F9-DFAC45DB63A0}"/>
              </a:ext>
            </a:extLst>
          </p:cNvPr>
          <p:cNvSpPr/>
          <p:nvPr/>
        </p:nvSpPr>
        <p:spPr>
          <a:xfrm>
            <a:off x="4514895" y="5501595"/>
            <a:ext cx="2339962" cy="384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enerate Ma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2266FE8-5AB0-4A88-AE07-009E45FF4BFC}"/>
              </a:ext>
            </a:extLst>
          </p:cNvPr>
          <p:cNvSpPr/>
          <p:nvPr/>
        </p:nvSpPr>
        <p:spPr>
          <a:xfrm>
            <a:off x="3600743" y="2858560"/>
            <a:ext cx="6103089" cy="308344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7C99AB7D-B509-45F7-8C1D-078FCD75F4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7011058"/>
              </p:ext>
            </p:extLst>
          </p:nvPr>
        </p:nvGraphicFramePr>
        <p:xfrm>
          <a:off x="4282355" y="3096943"/>
          <a:ext cx="3646466" cy="2340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A764A25-799F-4BE5-B9EF-A8B8E899A7D0}"/>
              </a:ext>
            </a:extLst>
          </p:cNvPr>
          <p:cNvSpPr/>
          <p:nvPr/>
        </p:nvSpPr>
        <p:spPr>
          <a:xfrm>
            <a:off x="5724741" y="5471926"/>
            <a:ext cx="820142" cy="384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o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52258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Login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90036" y="1323691"/>
            <a:ext cx="8960289" cy="5019962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7DCC9B7-CCF7-481E-AE8E-979506E241F1}"/>
              </a:ext>
            </a:extLst>
          </p:cNvPr>
          <p:cNvGrpSpPr/>
          <p:nvPr/>
        </p:nvGrpSpPr>
        <p:grpSpPr>
          <a:xfrm>
            <a:off x="5071300" y="3262029"/>
            <a:ext cx="2047807" cy="745104"/>
            <a:chOff x="4507969" y="4252901"/>
            <a:chExt cx="2813304" cy="74510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51F7E9E-099D-47EF-AC8F-9C480B954CCA}"/>
                </a:ext>
              </a:extLst>
            </p:cNvPr>
            <p:cNvSpPr/>
            <p:nvPr/>
          </p:nvSpPr>
          <p:spPr>
            <a:xfrm>
              <a:off x="4507969" y="4252901"/>
              <a:ext cx="2813304" cy="29836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usernam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987A843-16C8-407B-8157-443B777B70DF}"/>
                </a:ext>
              </a:extLst>
            </p:cNvPr>
            <p:cNvSpPr/>
            <p:nvPr/>
          </p:nvSpPr>
          <p:spPr>
            <a:xfrm>
              <a:off x="4507969" y="4699636"/>
              <a:ext cx="2813304" cy="29836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Password</a:t>
              </a:r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0FC9E4A-6C4F-4423-B390-F741B64AAB52}"/>
              </a:ext>
            </a:extLst>
          </p:cNvPr>
          <p:cNvSpPr/>
          <p:nvPr/>
        </p:nvSpPr>
        <p:spPr>
          <a:xfrm>
            <a:off x="5599017" y="4302124"/>
            <a:ext cx="992372" cy="384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00CDF8-DC93-40E7-8336-6C6BF51ADB77}"/>
              </a:ext>
            </a:extLst>
          </p:cNvPr>
          <p:cNvSpPr txBox="1"/>
          <p:nvPr/>
        </p:nvSpPr>
        <p:spPr>
          <a:xfrm>
            <a:off x="5670246" y="4806061"/>
            <a:ext cx="849913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>
                <a:solidFill>
                  <a:schemeClr val="accent2"/>
                </a:solidFill>
              </a:rPr>
              <a:t>Sign </a:t>
            </a:r>
            <a:r>
              <a:rPr lang="en-US" u="sng" dirty="0">
                <a:solidFill>
                  <a:schemeClr val="accent2"/>
                </a:solidFill>
              </a:rPr>
              <a:t>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00194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Admin Landing page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18743" y="1422696"/>
            <a:ext cx="9208484" cy="475160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9284560" y="2000681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671626" y="2308458"/>
            <a:ext cx="8722333" cy="363660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275343" y="2426077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Update IPO Detai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246625" y="2426077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Excha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4217907" y="2426077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2132644" y="2426077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mport Dat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342F5E-E9B4-4527-8E30-11A00C44C2DA}"/>
              </a:ext>
            </a:extLst>
          </p:cNvPr>
          <p:cNvSpPr/>
          <p:nvPr/>
        </p:nvSpPr>
        <p:spPr>
          <a:xfrm>
            <a:off x="4001550" y="4215057"/>
            <a:ext cx="3020035" cy="420943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elect an Excel fil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F73C245-F631-425C-94D4-9375DEDA59A3}"/>
              </a:ext>
            </a:extLst>
          </p:cNvPr>
          <p:cNvSpPr/>
          <p:nvPr/>
        </p:nvSpPr>
        <p:spPr>
          <a:xfrm>
            <a:off x="7113179" y="4215058"/>
            <a:ext cx="992372" cy="384048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upload</a:t>
            </a:r>
            <a:endParaRPr lang="en-US" dirty="0"/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98B83BAD-D0E5-409D-89D4-1491945FADA9}"/>
              </a:ext>
            </a:extLst>
          </p:cNvPr>
          <p:cNvSpPr/>
          <p:nvPr/>
        </p:nvSpPr>
        <p:spPr>
          <a:xfrm>
            <a:off x="6558078" y="4283968"/>
            <a:ext cx="392676" cy="283120"/>
          </a:xfrm>
          <a:custGeom>
            <a:avLst/>
            <a:gdLst>
              <a:gd name="T0" fmla="*/ 9640 w 10746"/>
              <a:gd name="T1" fmla="*/ 1067 h 8534"/>
              <a:gd name="T2" fmla="*/ 5513 w 10746"/>
              <a:gd name="T3" fmla="*/ 1067 h 8534"/>
              <a:gd name="T4" fmla="*/ 3738 w 10746"/>
              <a:gd name="T5" fmla="*/ 69 h 8534"/>
              <a:gd name="T6" fmla="*/ 3476 w 10746"/>
              <a:gd name="T7" fmla="*/ 0 h 8534"/>
              <a:gd name="T8" fmla="*/ 1106 w 10746"/>
              <a:gd name="T9" fmla="*/ 0 h 8534"/>
              <a:gd name="T10" fmla="*/ 573 w 10746"/>
              <a:gd name="T11" fmla="*/ 534 h 8534"/>
              <a:gd name="T12" fmla="*/ 573 w 10746"/>
              <a:gd name="T13" fmla="*/ 3734 h 8534"/>
              <a:gd name="T14" fmla="*/ 45 w 10746"/>
              <a:gd name="T15" fmla="*/ 4343 h 8534"/>
              <a:gd name="T16" fmla="*/ 578 w 10746"/>
              <a:gd name="T17" fmla="*/ 8076 h 8534"/>
              <a:gd name="T18" fmla="*/ 1106 w 10746"/>
              <a:gd name="T19" fmla="*/ 8534 h 8534"/>
              <a:gd name="T20" fmla="*/ 9640 w 10746"/>
              <a:gd name="T21" fmla="*/ 8534 h 8534"/>
              <a:gd name="T22" fmla="*/ 10168 w 10746"/>
              <a:gd name="T23" fmla="*/ 8076 h 8534"/>
              <a:gd name="T24" fmla="*/ 10701 w 10746"/>
              <a:gd name="T25" fmla="*/ 4343 h 8534"/>
              <a:gd name="T26" fmla="*/ 10173 w 10746"/>
              <a:gd name="T27" fmla="*/ 3734 h 8534"/>
              <a:gd name="T28" fmla="*/ 10173 w 10746"/>
              <a:gd name="T29" fmla="*/ 1600 h 8534"/>
              <a:gd name="T30" fmla="*/ 9640 w 10746"/>
              <a:gd name="T31" fmla="*/ 1067 h 8534"/>
              <a:gd name="T32" fmla="*/ 9177 w 10746"/>
              <a:gd name="T33" fmla="*/ 7467 h 8534"/>
              <a:gd name="T34" fmla="*/ 1569 w 10746"/>
              <a:gd name="T35" fmla="*/ 7467 h 8534"/>
              <a:gd name="T36" fmla="*/ 1188 w 10746"/>
              <a:gd name="T37" fmla="*/ 4800 h 8534"/>
              <a:gd name="T38" fmla="*/ 9558 w 10746"/>
              <a:gd name="T39" fmla="*/ 4800 h 8534"/>
              <a:gd name="T40" fmla="*/ 9177 w 10746"/>
              <a:gd name="T41" fmla="*/ 7467 h 8534"/>
              <a:gd name="T42" fmla="*/ 1640 w 10746"/>
              <a:gd name="T43" fmla="*/ 3734 h 8534"/>
              <a:gd name="T44" fmla="*/ 1640 w 10746"/>
              <a:gd name="T45" fmla="*/ 1067 h 8534"/>
              <a:gd name="T46" fmla="*/ 3337 w 10746"/>
              <a:gd name="T47" fmla="*/ 1067 h 8534"/>
              <a:gd name="T48" fmla="*/ 5112 w 10746"/>
              <a:gd name="T49" fmla="*/ 2065 h 8534"/>
              <a:gd name="T50" fmla="*/ 5373 w 10746"/>
              <a:gd name="T51" fmla="*/ 2134 h 8534"/>
              <a:gd name="T52" fmla="*/ 9106 w 10746"/>
              <a:gd name="T53" fmla="*/ 2134 h 8534"/>
              <a:gd name="T54" fmla="*/ 9106 w 10746"/>
              <a:gd name="T55" fmla="*/ 3734 h 8534"/>
              <a:gd name="T56" fmla="*/ 1640 w 10746"/>
              <a:gd name="T57" fmla="*/ 3734 h 8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746" h="8534">
                <a:moveTo>
                  <a:pt x="9640" y="1067"/>
                </a:moveTo>
                <a:lnTo>
                  <a:pt x="5513" y="1067"/>
                </a:lnTo>
                <a:lnTo>
                  <a:pt x="3738" y="69"/>
                </a:lnTo>
                <a:cubicBezTo>
                  <a:pt x="3658" y="24"/>
                  <a:pt x="3568" y="0"/>
                  <a:pt x="3476" y="0"/>
                </a:cubicBezTo>
                <a:lnTo>
                  <a:pt x="1106" y="0"/>
                </a:lnTo>
                <a:cubicBezTo>
                  <a:pt x="812" y="0"/>
                  <a:pt x="573" y="239"/>
                  <a:pt x="573" y="534"/>
                </a:cubicBezTo>
                <a:lnTo>
                  <a:pt x="573" y="3734"/>
                </a:lnTo>
                <a:cubicBezTo>
                  <a:pt x="249" y="3735"/>
                  <a:pt x="0" y="4022"/>
                  <a:pt x="45" y="4343"/>
                </a:cubicBezTo>
                <a:lnTo>
                  <a:pt x="578" y="8076"/>
                </a:lnTo>
                <a:cubicBezTo>
                  <a:pt x="616" y="8339"/>
                  <a:pt x="841" y="8534"/>
                  <a:pt x="1106" y="8534"/>
                </a:cubicBezTo>
                <a:lnTo>
                  <a:pt x="9640" y="8534"/>
                </a:lnTo>
                <a:cubicBezTo>
                  <a:pt x="9905" y="8534"/>
                  <a:pt x="10130" y="8339"/>
                  <a:pt x="10168" y="8076"/>
                </a:cubicBezTo>
                <a:lnTo>
                  <a:pt x="10701" y="4343"/>
                </a:lnTo>
                <a:cubicBezTo>
                  <a:pt x="10746" y="4022"/>
                  <a:pt x="10497" y="3735"/>
                  <a:pt x="10173" y="3734"/>
                </a:cubicBezTo>
                <a:lnTo>
                  <a:pt x="10173" y="1600"/>
                </a:lnTo>
                <a:cubicBezTo>
                  <a:pt x="10173" y="1306"/>
                  <a:pt x="9934" y="1067"/>
                  <a:pt x="9640" y="1067"/>
                </a:cubicBezTo>
                <a:close/>
                <a:moveTo>
                  <a:pt x="9177" y="7467"/>
                </a:moveTo>
                <a:lnTo>
                  <a:pt x="1569" y="7467"/>
                </a:lnTo>
                <a:lnTo>
                  <a:pt x="1188" y="4800"/>
                </a:lnTo>
                <a:lnTo>
                  <a:pt x="9558" y="4800"/>
                </a:lnTo>
                <a:lnTo>
                  <a:pt x="9177" y="7467"/>
                </a:lnTo>
                <a:close/>
                <a:moveTo>
                  <a:pt x="1640" y="3734"/>
                </a:moveTo>
                <a:lnTo>
                  <a:pt x="1640" y="1067"/>
                </a:lnTo>
                <a:lnTo>
                  <a:pt x="3337" y="1067"/>
                </a:lnTo>
                <a:lnTo>
                  <a:pt x="5112" y="2065"/>
                </a:lnTo>
                <a:cubicBezTo>
                  <a:pt x="5191" y="2110"/>
                  <a:pt x="5281" y="2134"/>
                  <a:pt x="5373" y="2134"/>
                </a:cubicBezTo>
                <a:lnTo>
                  <a:pt x="9106" y="2134"/>
                </a:lnTo>
                <a:lnTo>
                  <a:pt x="9106" y="3734"/>
                </a:lnTo>
                <a:lnTo>
                  <a:pt x="1640" y="3734"/>
                </a:ln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4244896-6B46-4C3B-BBC3-3A74097E87A7}"/>
              </a:ext>
            </a:extLst>
          </p:cNvPr>
          <p:cNvSpPr txBox="1"/>
          <p:nvPr/>
        </p:nvSpPr>
        <p:spPr>
          <a:xfrm>
            <a:off x="5360372" y="4722219"/>
            <a:ext cx="1071127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altLang="zh-CN" sz="1400" u="sng" dirty="0"/>
              <a:t>Sample file</a:t>
            </a:r>
            <a:endParaRPr lang="en-US" sz="1400" u="sng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6619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Import Data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8564" y="1355728"/>
            <a:ext cx="9703902" cy="488473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9284560" y="1990348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519531" y="2298125"/>
            <a:ext cx="9060652" cy="394233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149486" y="2407489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Update IPO Detai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078152" y="2414125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Excha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4019211" y="2416353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1902054" y="2406654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mport 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EF6BB4-5DFC-400C-8B9A-90957CB54636}"/>
              </a:ext>
            </a:extLst>
          </p:cNvPr>
          <p:cNvSpPr txBox="1"/>
          <p:nvPr/>
        </p:nvSpPr>
        <p:spPr>
          <a:xfrm>
            <a:off x="4379024" y="3155970"/>
            <a:ext cx="3433953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Import Data From Exc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342F5E-E9B4-4527-8E30-11A00C44C2DA}"/>
              </a:ext>
            </a:extLst>
          </p:cNvPr>
          <p:cNvSpPr/>
          <p:nvPr/>
        </p:nvSpPr>
        <p:spPr>
          <a:xfrm>
            <a:off x="3732028" y="4215057"/>
            <a:ext cx="3256688" cy="420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elect an Excel fil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F73C245-F631-425C-94D4-9375DEDA59A3}"/>
              </a:ext>
            </a:extLst>
          </p:cNvPr>
          <p:cNvSpPr/>
          <p:nvPr/>
        </p:nvSpPr>
        <p:spPr>
          <a:xfrm>
            <a:off x="7113179" y="4215058"/>
            <a:ext cx="992372" cy="384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mport</a:t>
            </a:r>
            <a:endParaRPr lang="en-US" dirty="0"/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98B83BAD-D0E5-409D-89D4-1491945FADA9}"/>
              </a:ext>
            </a:extLst>
          </p:cNvPr>
          <p:cNvSpPr/>
          <p:nvPr/>
        </p:nvSpPr>
        <p:spPr>
          <a:xfrm>
            <a:off x="6519852" y="4230157"/>
            <a:ext cx="442843" cy="351683"/>
          </a:xfrm>
          <a:custGeom>
            <a:avLst/>
            <a:gdLst>
              <a:gd name="T0" fmla="*/ 9640 w 10746"/>
              <a:gd name="T1" fmla="*/ 1067 h 8534"/>
              <a:gd name="T2" fmla="*/ 5513 w 10746"/>
              <a:gd name="T3" fmla="*/ 1067 h 8534"/>
              <a:gd name="T4" fmla="*/ 3738 w 10746"/>
              <a:gd name="T5" fmla="*/ 69 h 8534"/>
              <a:gd name="T6" fmla="*/ 3476 w 10746"/>
              <a:gd name="T7" fmla="*/ 0 h 8534"/>
              <a:gd name="T8" fmla="*/ 1106 w 10746"/>
              <a:gd name="T9" fmla="*/ 0 h 8534"/>
              <a:gd name="T10" fmla="*/ 573 w 10746"/>
              <a:gd name="T11" fmla="*/ 534 h 8534"/>
              <a:gd name="T12" fmla="*/ 573 w 10746"/>
              <a:gd name="T13" fmla="*/ 3734 h 8534"/>
              <a:gd name="T14" fmla="*/ 45 w 10746"/>
              <a:gd name="T15" fmla="*/ 4343 h 8534"/>
              <a:gd name="T16" fmla="*/ 578 w 10746"/>
              <a:gd name="T17" fmla="*/ 8076 h 8534"/>
              <a:gd name="T18" fmla="*/ 1106 w 10746"/>
              <a:gd name="T19" fmla="*/ 8534 h 8534"/>
              <a:gd name="T20" fmla="*/ 9640 w 10746"/>
              <a:gd name="T21" fmla="*/ 8534 h 8534"/>
              <a:gd name="T22" fmla="*/ 10168 w 10746"/>
              <a:gd name="T23" fmla="*/ 8076 h 8534"/>
              <a:gd name="T24" fmla="*/ 10701 w 10746"/>
              <a:gd name="T25" fmla="*/ 4343 h 8534"/>
              <a:gd name="T26" fmla="*/ 10173 w 10746"/>
              <a:gd name="T27" fmla="*/ 3734 h 8534"/>
              <a:gd name="T28" fmla="*/ 10173 w 10746"/>
              <a:gd name="T29" fmla="*/ 1600 h 8534"/>
              <a:gd name="T30" fmla="*/ 9640 w 10746"/>
              <a:gd name="T31" fmla="*/ 1067 h 8534"/>
              <a:gd name="T32" fmla="*/ 9177 w 10746"/>
              <a:gd name="T33" fmla="*/ 7467 h 8534"/>
              <a:gd name="T34" fmla="*/ 1569 w 10746"/>
              <a:gd name="T35" fmla="*/ 7467 h 8534"/>
              <a:gd name="T36" fmla="*/ 1188 w 10746"/>
              <a:gd name="T37" fmla="*/ 4800 h 8534"/>
              <a:gd name="T38" fmla="*/ 9558 w 10746"/>
              <a:gd name="T39" fmla="*/ 4800 h 8534"/>
              <a:gd name="T40" fmla="*/ 9177 w 10746"/>
              <a:gd name="T41" fmla="*/ 7467 h 8534"/>
              <a:gd name="T42" fmla="*/ 1640 w 10746"/>
              <a:gd name="T43" fmla="*/ 3734 h 8534"/>
              <a:gd name="T44" fmla="*/ 1640 w 10746"/>
              <a:gd name="T45" fmla="*/ 1067 h 8534"/>
              <a:gd name="T46" fmla="*/ 3337 w 10746"/>
              <a:gd name="T47" fmla="*/ 1067 h 8534"/>
              <a:gd name="T48" fmla="*/ 5112 w 10746"/>
              <a:gd name="T49" fmla="*/ 2065 h 8534"/>
              <a:gd name="T50" fmla="*/ 5373 w 10746"/>
              <a:gd name="T51" fmla="*/ 2134 h 8534"/>
              <a:gd name="T52" fmla="*/ 9106 w 10746"/>
              <a:gd name="T53" fmla="*/ 2134 h 8534"/>
              <a:gd name="T54" fmla="*/ 9106 w 10746"/>
              <a:gd name="T55" fmla="*/ 3734 h 8534"/>
              <a:gd name="T56" fmla="*/ 1640 w 10746"/>
              <a:gd name="T57" fmla="*/ 3734 h 8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746" h="8534">
                <a:moveTo>
                  <a:pt x="9640" y="1067"/>
                </a:moveTo>
                <a:lnTo>
                  <a:pt x="5513" y="1067"/>
                </a:lnTo>
                <a:lnTo>
                  <a:pt x="3738" y="69"/>
                </a:lnTo>
                <a:cubicBezTo>
                  <a:pt x="3658" y="24"/>
                  <a:pt x="3568" y="0"/>
                  <a:pt x="3476" y="0"/>
                </a:cubicBezTo>
                <a:lnTo>
                  <a:pt x="1106" y="0"/>
                </a:lnTo>
                <a:cubicBezTo>
                  <a:pt x="812" y="0"/>
                  <a:pt x="573" y="239"/>
                  <a:pt x="573" y="534"/>
                </a:cubicBezTo>
                <a:lnTo>
                  <a:pt x="573" y="3734"/>
                </a:lnTo>
                <a:cubicBezTo>
                  <a:pt x="249" y="3735"/>
                  <a:pt x="0" y="4022"/>
                  <a:pt x="45" y="4343"/>
                </a:cubicBezTo>
                <a:lnTo>
                  <a:pt x="578" y="8076"/>
                </a:lnTo>
                <a:cubicBezTo>
                  <a:pt x="616" y="8339"/>
                  <a:pt x="841" y="8534"/>
                  <a:pt x="1106" y="8534"/>
                </a:cubicBezTo>
                <a:lnTo>
                  <a:pt x="9640" y="8534"/>
                </a:lnTo>
                <a:cubicBezTo>
                  <a:pt x="9905" y="8534"/>
                  <a:pt x="10130" y="8339"/>
                  <a:pt x="10168" y="8076"/>
                </a:cubicBezTo>
                <a:lnTo>
                  <a:pt x="10701" y="4343"/>
                </a:lnTo>
                <a:cubicBezTo>
                  <a:pt x="10746" y="4022"/>
                  <a:pt x="10497" y="3735"/>
                  <a:pt x="10173" y="3734"/>
                </a:cubicBezTo>
                <a:lnTo>
                  <a:pt x="10173" y="1600"/>
                </a:lnTo>
                <a:cubicBezTo>
                  <a:pt x="10173" y="1306"/>
                  <a:pt x="9934" y="1067"/>
                  <a:pt x="9640" y="1067"/>
                </a:cubicBezTo>
                <a:close/>
                <a:moveTo>
                  <a:pt x="9177" y="7467"/>
                </a:moveTo>
                <a:lnTo>
                  <a:pt x="1569" y="7467"/>
                </a:lnTo>
                <a:lnTo>
                  <a:pt x="1188" y="4800"/>
                </a:lnTo>
                <a:lnTo>
                  <a:pt x="9558" y="4800"/>
                </a:lnTo>
                <a:lnTo>
                  <a:pt x="9177" y="7467"/>
                </a:lnTo>
                <a:close/>
                <a:moveTo>
                  <a:pt x="1640" y="3734"/>
                </a:moveTo>
                <a:lnTo>
                  <a:pt x="1640" y="1067"/>
                </a:lnTo>
                <a:lnTo>
                  <a:pt x="3337" y="1067"/>
                </a:lnTo>
                <a:lnTo>
                  <a:pt x="5112" y="2065"/>
                </a:lnTo>
                <a:cubicBezTo>
                  <a:pt x="5191" y="2110"/>
                  <a:pt x="5281" y="2134"/>
                  <a:pt x="5373" y="2134"/>
                </a:cubicBezTo>
                <a:lnTo>
                  <a:pt x="9106" y="2134"/>
                </a:lnTo>
                <a:lnTo>
                  <a:pt x="9106" y="3734"/>
                </a:lnTo>
                <a:lnTo>
                  <a:pt x="1640" y="3734"/>
                </a:ln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4244896-6B46-4C3B-BBC3-3A74097E87A7}"/>
              </a:ext>
            </a:extLst>
          </p:cNvPr>
          <p:cNvSpPr txBox="1"/>
          <p:nvPr/>
        </p:nvSpPr>
        <p:spPr>
          <a:xfrm>
            <a:off x="6519852" y="4799850"/>
            <a:ext cx="1071127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altLang="zh-CN" sz="1400" u="sng" dirty="0"/>
              <a:t>Sample file</a:t>
            </a:r>
            <a:endParaRPr lang="en-US" sz="1400" u="sng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9743BE-8041-4C9E-BCCD-C2904BA706DD}"/>
              </a:ext>
            </a:extLst>
          </p:cNvPr>
          <p:cNvSpPr/>
          <p:nvPr/>
        </p:nvSpPr>
        <p:spPr>
          <a:xfrm>
            <a:off x="3044456" y="2870790"/>
            <a:ext cx="6103089" cy="316329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02007AD-1E8C-47D0-9CBE-13D0A693BB66}"/>
              </a:ext>
            </a:extLst>
          </p:cNvPr>
          <p:cNvSpPr txBox="1"/>
          <p:nvPr/>
        </p:nvSpPr>
        <p:spPr>
          <a:xfrm>
            <a:off x="4695617" y="3137618"/>
            <a:ext cx="2800767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Summary of </a:t>
            </a:r>
            <a:r>
              <a:rPr lang="en-US" altLang="zh-CN" sz="2400" u="sng" dirty="0"/>
              <a:t>Import</a:t>
            </a:r>
            <a:endParaRPr lang="en-US" sz="2400" u="sng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3102C76-7E90-4059-88E9-A2288624BA8E}"/>
              </a:ext>
            </a:extLst>
          </p:cNvPr>
          <p:cNvGrpSpPr/>
          <p:nvPr/>
        </p:nvGrpSpPr>
        <p:grpSpPr>
          <a:xfrm>
            <a:off x="3972497" y="3768759"/>
            <a:ext cx="2547443" cy="307777"/>
            <a:chOff x="3972498" y="3768759"/>
            <a:chExt cx="2547443" cy="307777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F1542E2-8310-453C-AF71-20B0157C350E}"/>
                </a:ext>
              </a:extLst>
            </p:cNvPr>
            <p:cNvSpPr txBox="1"/>
            <p:nvPr/>
          </p:nvSpPr>
          <p:spPr>
            <a:xfrm>
              <a:off x="3972498" y="3768759"/>
              <a:ext cx="1478290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Company Nam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8A2D5C8-3CF1-4B70-A2F1-013651BD13FD}"/>
                </a:ext>
              </a:extLst>
            </p:cNvPr>
            <p:cNvSpPr txBox="1"/>
            <p:nvPr/>
          </p:nvSpPr>
          <p:spPr>
            <a:xfrm>
              <a:off x="5836741" y="3768759"/>
              <a:ext cx="683200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CMP1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4F79F2B-D5C7-4D26-B813-538BF0BE1F70}"/>
              </a:ext>
            </a:extLst>
          </p:cNvPr>
          <p:cNvGrpSpPr/>
          <p:nvPr/>
        </p:nvGrpSpPr>
        <p:grpSpPr>
          <a:xfrm>
            <a:off x="3972497" y="4261580"/>
            <a:ext cx="2388746" cy="307777"/>
            <a:chOff x="3972498" y="4261580"/>
            <a:chExt cx="2388746" cy="307777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C31167C-4331-40EF-9B48-C1F429EB055F}"/>
                </a:ext>
              </a:extLst>
            </p:cNvPr>
            <p:cNvSpPr txBox="1"/>
            <p:nvPr/>
          </p:nvSpPr>
          <p:spPr>
            <a:xfrm>
              <a:off x="3972498" y="4261580"/>
              <a:ext cx="1479892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Stock Exchange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3C0503B-25A5-4021-A6E6-BB767A6869B5}"/>
                </a:ext>
              </a:extLst>
            </p:cNvPr>
            <p:cNvSpPr txBox="1"/>
            <p:nvPr/>
          </p:nvSpPr>
          <p:spPr>
            <a:xfrm>
              <a:off x="5836741" y="4261580"/>
              <a:ext cx="524503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EX1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D432F71-0EDD-4716-9D85-F215AFEFC671}"/>
              </a:ext>
            </a:extLst>
          </p:cNvPr>
          <p:cNvGrpSpPr/>
          <p:nvPr/>
        </p:nvGrpSpPr>
        <p:grpSpPr>
          <a:xfrm>
            <a:off x="3791824" y="4711468"/>
            <a:ext cx="2527740" cy="307778"/>
            <a:chOff x="3791825" y="4711468"/>
            <a:chExt cx="2527740" cy="307778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E7B87D0-D777-4655-AADD-D41B7E997AA2}"/>
                </a:ext>
              </a:extLst>
            </p:cNvPr>
            <p:cNvSpPr txBox="1"/>
            <p:nvPr/>
          </p:nvSpPr>
          <p:spPr>
            <a:xfrm>
              <a:off x="3791825" y="4711469"/>
              <a:ext cx="1658963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/>
                <a:t>Records Imported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DFFE467-A6B8-4702-A0A1-3C3103171C5F}"/>
                </a:ext>
              </a:extLst>
            </p:cNvPr>
            <p:cNvSpPr txBox="1"/>
            <p:nvPr/>
          </p:nvSpPr>
          <p:spPr>
            <a:xfrm>
              <a:off x="5836741" y="4711468"/>
              <a:ext cx="482824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123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7328E8C-A9DF-4D7B-B059-FF2377C97365}"/>
              </a:ext>
            </a:extLst>
          </p:cNvPr>
          <p:cNvGrpSpPr/>
          <p:nvPr/>
        </p:nvGrpSpPr>
        <p:grpSpPr>
          <a:xfrm>
            <a:off x="3972497" y="5306409"/>
            <a:ext cx="4043832" cy="307777"/>
            <a:chOff x="3972497" y="5306409"/>
            <a:chExt cx="4043832" cy="307777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5C59E3F-1163-4856-885A-F6A019B7FCF4}"/>
                </a:ext>
              </a:extLst>
            </p:cNvPr>
            <p:cNvSpPr txBox="1"/>
            <p:nvPr/>
          </p:nvSpPr>
          <p:spPr>
            <a:xfrm>
              <a:off x="3972497" y="5306409"/>
              <a:ext cx="1029449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From Date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69C5419-0062-4D1C-92B4-4366902B84CA}"/>
                </a:ext>
              </a:extLst>
            </p:cNvPr>
            <p:cNvSpPr txBox="1"/>
            <p:nvPr/>
          </p:nvSpPr>
          <p:spPr>
            <a:xfrm>
              <a:off x="5012792" y="5306409"/>
              <a:ext cx="1079142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01/01/2020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B2792FC-1270-4C5A-9C58-E3A8E55363C2}"/>
                </a:ext>
              </a:extLst>
            </p:cNvPr>
            <p:cNvSpPr txBox="1"/>
            <p:nvPr/>
          </p:nvSpPr>
          <p:spPr>
            <a:xfrm>
              <a:off x="6198347" y="5306409"/>
              <a:ext cx="801181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To Date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213FD4E-9292-478B-94E3-DF74F4337E7D}"/>
                </a:ext>
              </a:extLst>
            </p:cNvPr>
            <p:cNvSpPr txBox="1"/>
            <p:nvPr/>
          </p:nvSpPr>
          <p:spPr>
            <a:xfrm>
              <a:off x="6937187" y="5306409"/>
              <a:ext cx="1079142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01/31/2020</a:t>
              </a:r>
            </a:p>
          </p:txBody>
        </p:sp>
      </p:grp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AD861B52-1E82-47A9-AF9C-E686494C828D}"/>
              </a:ext>
            </a:extLst>
          </p:cNvPr>
          <p:cNvSpPr/>
          <p:nvPr/>
        </p:nvSpPr>
        <p:spPr>
          <a:xfrm>
            <a:off x="5317011" y="5674327"/>
            <a:ext cx="1549845" cy="336351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94106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anage Company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8564" y="1355728"/>
            <a:ext cx="9598788" cy="47140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9198989" y="2011636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523142" y="2717571"/>
            <a:ext cx="9060652" cy="335154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332436" y="2422883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Update IPO Detai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443646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Excha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4212267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1929001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Import 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EF6BB4-5DFC-400C-8B9A-90957CB54636}"/>
              </a:ext>
            </a:extLst>
          </p:cNvPr>
          <p:cNvSpPr txBox="1"/>
          <p:nvPr/>
        </p:nvSpPr>
        <p:spPr>
          <a:xfrm>
            <a:off x="4379024" y="2741293"/>
            <a:ext cx="2236510" cy="40011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000" u="sng" dirty="0"/>
              <a:t>List of Compan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F212AF-FAA9-4CF1-86F3-62C53012BE6D}"/>
              </a:ext>
            </a:extLst>
          </p:cNvPr>
          <p:cNvSpPr/>
          <p:nvPr/>
        </p:nvSpPr>
        <p:spPr>
          <a:xfrm>
            <a:off x="2360427" y="3198773"/>
            <a:ext cx="7531847" cy="273419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78143A8-4914-452D-8828-383F8353C96D}"/>
              </a:ext>
            </a:extLst>
          </p:cNvPr>
          <p:cNvGrpSpPr/>
          <p:nvPr/>
        </p:nvGrpSpPr>
        <p:grpSpPr>
          <a:xfrm>
            <a:off x="2472690" y="3868789"/>
            <a:ext cx="7290397" cy="517286"/>
            <a:chOff x="2608513" y="3775544"/>
            <a:chExt cx="7290397" cy="517286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A5F217A-1E48-4073-B485-87BD87B67BD4}"/>
                </a:ext>
              </a:extLst>
            </p:cNvPr>
            <p:cNvSpPr/>
            <p:nvPr/>
          </p:nvSpPr>
          <p:spPr>
            <a:xfrm>
              <a:off x="2608513" y="3775544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CD683D6-4ED6-4CD5-82D8-A9412F90678E}"/>
                </a:ext>
              </a:extLst>
            </p:cNvPr>
            <p:cNvSpPr/>
            <p:nvPr/>
          </p:nvSpPr>
          <p:spPr>
            <a:xfrm>
              <a:off x="2757368" y="3832169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5CCDAAB-D8E0-48F2-9763-F1F381618488}"/>
                </a:ext>
              </a:extLst>
            </p:cNvPr>
            <p:cNvSpPr/>
            <p:nvPr/>
          </p:nvSpPr>
          <p:spPr>
            <a:xfrm>
              <a:off x="3342155" y="3832168"/>
              <a:ext cx="2006023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55DB161-4DDA-4CDB-991A-F4377EE2D9E5}"/>
                </a:ext>
              </a:extLst>
            </p:cNvPr>
            <p:cNvSpPr/>
            <p:nvPr/>
          </p:nvSpPr>
          <p:spPr>
            <a:xfrm>
              <a:off x="6404037" y="3824330"/>
              <a:ext cx="246706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Description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75946A5-A6A9-4400-BF5A-69330F6DFE1B}"/>
                </a:ext>
              </a:extLst>
            </p:cNvPr>
            <p:cNvSpPr/>
            <p:nvPr/>
          </p:nvSpPr>
          <p:spPr>
            <a:xfrm>
              <a:off x="9066299" y="3866012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6D107B0-E404-405C-8AF0-B48A77D81E82}"/>
                </a:ext>
              </a:extLst>
            </p:cNvPr>
            <p:cNvSpPr/>
            <p:nvPr/>
          </p:nvSpPr>
          <p:spPr>
            <a:xfrm>
              <a:off x="5404580" y="3832168"/>
              <a:ext cx="90377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Exchange Name</a:t>
              </a:r>
            </a:p>
          </p:txBody>
        </p:sp>
      </p:grp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C7808020-FA27-4E27-BAA4-7CDDC40359CD}"/>
              </a:ext>
            </a:extLst>
          </p:cNvPr>
          <p:cNvSpPr/>
          <p:nvPr/>
        </p:nvSpPr>
        <p:spPr>
          <a:xfrm>
            <a:off x="8215123" y="2808309"/>
            <a:ext cx="1549845" cy="336351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New Company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DE810B4-83EC-4BE3-8BA4-886C56027C0E}"/>
              </a:ext>
            </a:extLst>
          </p:cNvPr>
          <p:cNvGrpSpPr/>
          <p:nvPr/>
        </p:nvGrpSpPr>
        <p:grpSpPr>
          <a:xfrm>
            <a:off x="2472689" y="3297843"/>
            <a:ext cx="7290397" cy="517286"/>
            <a:chOff x="2608513" y="3775544"/>
            <a:chExt cx="7290397" cy="517286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DEFCAED-CDD9-407D-AD32-084259C70C21}"/>
                </a:ext>
              </a:extLst>
            </p:cNvPr>
            <p:cNvSpPr/>
            <p:nvPr/>
          </p:nvSpPr>
          <p:spPr>
            <a:xfrm>
              <a:off x="2608513" y="3775544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EE643C2-0E16-4734-8041-C3AC103341F4}"/>
                </a:ext>
              </a:extLst>
            </p:cNvPr>
            <p:cNvSpPr/>
            <p:nvPr/>
          </p:nvSpPr>
          <p:spPr>
            <a:xfrm>
              <a:off x="2757368" y="3832169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71361E4-9AB2-41D8-AF59-61898B6D8F59}"/>
                </a:ext>
              </a:extLst>
            </p:cNvPr>
            <p:cNvSpPr/>
            <p:nvPr/>
          </p:nvSpPr>
          <p:spPr>
            <a:xfrm>
              <a:off x="3342155" y="3832168"/>
              <a:ext cx="2006023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8EBE40D-EE3F-415B-8D01-B78D07C90A61}"/>
                </a:ext>
              </a:extLst>
            </p:cNvPr>
            <p:cNvSpPr/>
            <p:nvPr/>
          </p:nvSpPr>
          <p:spPr>
            <a:xfrm>
              <a:off x="6404037" y="3824330"/>
              <a:ext cx="246706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Description</a:t>
              </a:r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9B80C979-AAF1-4283-901D-BD78863A084F}"/>
                </a:ext>
              </a:extLst>
            </p:cNvPr>
            <p:cNvSpPr/>
            <p:nvPr/>
          </p:nvSpPr>
          <p:spPr>
            <a:xfrm>
              <a:off x="9066299" y="3866012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D1889AD-C936-4419-93B1-9F2712D6E29A}"/>
                </a:ext>
              </a:extLst>
            </p:cNvPr>
            <p:cNvSpPr/>
            <p:nvPr/>
          </p:nvSpPr>
          <p:spPr>
            <a:xfrm>
              <a:off x="5404580" y="3832168"/>
              <a:ext cx="90377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Exchange Name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83137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anage Company – Edit Page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8564" y="1355728"/>
            <a:ext cx="9598788" cy="47140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9461314" y="2006043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523142" y="2717571"/>
            <a:ext cx="9060652" cy="335154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549658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Update IPO Detai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353074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Excha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4141037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1929000" y="2390543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Import 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EF6BB4-5DFC-400C-8B9A-90957CB54636}"/>
              </a:ext>
            </a:extLst>
          </p:cNvPr>
          <p:cNvSpPr txBox="1"/>
          <p:nvPr/>
        </p:nvSpPr>
        <p:spPr>
          <a:xfrm>
            <a:off x="4379024" y="2741293"/>
            <a:ext cx="2650084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List of Compan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F212AF-FAA9-4CF1-86F3-62C53012BE6D}"/>
              </a:ext>
            </a:extLst>
          </p:cNvPr>
          <p:cNvSpPr/>
          <p:nvPr/>
        </p:nvSpPr>
        <p:spPr>
          <a:xfrm>
            <a:off x="2360427" y="3198773"/>
            <a:ext cx="7531847" cy="2734194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78143A8-4914-452D-8828-383F8353C96D}"/>
              </a:ext>
            </a:extLst>
          </p:cNvPr>
          <p:cNvGrpSpPr/>
          <p:nvPr/>
        </p:nvGrpSpPr>
        <p:grpSpPr>
          <a:xfrm>
            <a:off x="2472690" y="3868789"/>
            <a:ext cx="7290397" cy="517286"/>
            <a:chOff x="2608513" y="3775544"/>
            <a:chExt cx="7290397" cy="517286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A5F217A-1E48-4073-B485-87BD87B67BD4}"/>
                </a:ext>
              </a:extLst>
            </p:cNvPr>
            <p:cNvSpPr/>
            <p:nvPr/>
          </p:nvSpPr>
          <p:spPr>
            <a:xfrm>
              <a:off x="2608513" y="3775544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CD683D6-4ED6-4CD5-82D8-A9412F90678E}"/>
                </a:ext>
              </a:extLst>
            </p:cNvPr>
            <p:cNvSpPr/>
            <p:nvPr/>
          </p:nvSpPr>
          <p:spPr>
            <a:xfrm>
              <a:off x="2757368" y="3832169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5CCDAAB-D8E0-48F2-9763-F1F381618488}"/>
                </a:ext>
              </a:extLst>
            </p:cNvPr>
            <p:cNvSpPr/>
            <p:nvPr/>
          </p:nvSpPr>
          <p:spPr>
            <a:xfrm>
              <a:off x="3342155" y="3832168"/>
              <a:ext cx="2006023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55DB161-4DDA-4CDB-991A-F4377EE2D9E5}"/>
                </a:ext>
              </a:extLst>
            </p:cNvPr>
            <p:cNvSpPr/>
            <p:nvPr/>
          </p:nvSpPr>
          <p:spPr>
            <a:xfrm>
              <a:off x="6404037" y="3824330"/>
              <a:ext cx="246706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Description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75946A5-A6A9-4400-BF5A-69330F6DFE1B}"/>
                </a:ext>
              </a:extLst>
            </p:cNvPr>
            <p:cNvSpPr/>
            <p:nvPr/>
          </p:nvSpPr>
          <p:spPr>
            <a:xfrm>
              <a:off x="9066299" y="3866012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6D107B0-E404-405C-8AF0-B48A77D81E82}"/>
                </a:ext>
              </a:extLst>
            </p:cNvPr>
            <p:cNvSpPr/>
            <p:nvPr/>
          </p:nvSpPr>
          <p:spPr>
            <a:xfrm>
              <a:off x="5404580" y="3832168"/>
              <a:ext cx="90377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Exchange Name</a:t>
              </a:r>
            </a:p>
          </p:txBody>
        </p:sp>
      </p:grp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C7808020-FA27-4E27-BAA4-7CDDC40359CD}"/>
              </a:ext>
            </a:extLst>
          </p:cNvPr>
          <p:cNvSpPr/>
          <p:nvPr/>
        </p:nvSpPr>
        <p:spPr>
          <a:xfrm>
            <a:off x="8215123" y="2808309"/>
            <a:ext cx="1549845" cy="336351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New Company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DE810B4-83EC-4BE3-8BA4-886C56027C0E}"/>
              </a:ext>
            </a:extLst>
          </p:cNvPr>
          <p:cNvGrpSpPr/>
          <p:nvPr/>
        </p:nvGrpSpPr>
        <p:grpSpPr>
          <a:xfrm>
            <a:off x="2472689" y="3297843"/>
            <a:ext cx="7290397" cy="517286"/>
            <a:chOff x="2608513" y="3775544"/>
            <a:chExt cx="7290397" cy="517286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DEFCAED-CDD9-407D-AD32-084259C70C21}"/>
                </a:ext>
              </a:extLst>
            </p:cNvPr>
            <p:cNvSpPr/>
            <p:nvPr/>
          </p:nvSpPr>
          <p:spPr>
            <a:xfrm>
              <a:off x="2608513" y="3775544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EE643C2-0E16-4734-8041-C3AC103341F4}"/>
                </a:ext>
              </a:extLst>
            </p:cNvPr>
            <p:cNvSpPr/>
            <p:nvPr/>
          </p:nvSpPr>
          <p:spPr>
            <a:xfrm>
              <a:off x="2757368" y="3832169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71361E4-9AB2-41D8-AF59-61898B6D8F59}"/>
                </a:ext>
              </a:extLst>
            </p:cNvPr>
            <p:cNvSpPr/>
            <p:nvPr/>
          </p:nvSpPr>
          <p:spPr>
            <a:xfrm>
              <a:off x="3342155" y="3832168"/>
              <a:ext cx="2006023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8EBE40D-EE3F-415B-8D01-B78D07C90A61}"/>
                </a:ext>
              </a:extLst>
            </p:cNvPr>
            <p:cNvSpPr/>
            <p:nvPr/>
          </p:nvSpPr>
          <p:spPr>
            <a:xfrm>
              <a:off x="6404037" y="3824330"/>
              <a:ext cx="246706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Description</a:t>
              </a:r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9B80C979-AAF1-4283-901D-BD78863A084F}"/>
                </a:ext>
              </a:extLst>
            </p:cNvPr>
            <p:cNvSpPr/>
            <p:nvPr/>
          </p:nvSpPr>
          <p:spPr>
            <a:xfrm>
              <a:off x="9066299" y="3866012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D1889AD-C936-4419-93B1-9F2712D6E29A}"/>
                </a:ext>
              </a:extLst>
            </p:cNvPr>
            <p:cNvSpPr/>
            <p:nvPr/>
          </p:nvSpPr>
          <p:spPr>
            <a:xfrm>
              <a:off x="5404580" y="3832168"/>
              <a:ext cx="90377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Exchange Name</a:t>
              </a: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0031AAA1-761A-4718-98BE-F7680D899FA2}"/>
              </a:ext>
            </a:extLst>
          </p:cNvPr>
          <p:cNvSpPr/>
          <p:nvPr/>
        </p:nvSpPr>
        <p:spPr>
          <a:xfrm>
            <a:off x="3044456" y="2870791"/>
            <a:ext cx="6103089" cy="308344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A9EC6D4-AFB1-4794-BAEA-ADE82E16F8C8}"/>
              </a:ext>
            </a:extLst>
          </p:cNvPr>
          <p:cNvSpPr txBox="1"/>
          <p:nvPr/>
        </p:nvSpPr>
        <p:spPr>
          <a:xfrm>
            <a:off x="4695617" y="2936256"/>
            <a:ext cx="3129383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Create/Edit Company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290BAC4-130D-4626-ABDE-23F5110B9A82}"/>
              </a:ext>
            </a:extLst>
          </p:cNvPr>
          <p:cNvGrpSpPr/>
          <p:nvPr/>
        </p:nvGrpSpPr>
        <p:grpSpPr>
          <a:xfrm>
            <a:off x="4398285" y="3409965"/>
            <a:ext cx="2547443" cy="307777"/>
            <a:chOff x="3972498" y="3768759"/>
            <a:chExt cx="2547443" cy="307777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66C42EE-DD26-45E7-A276-E12E78EE332E}"/>
                </a:ext>
              </a:extLst>
            </p:cNvPr>
            <p:cNvSpPr txBox="1"/>
            <p:nvPr/>
          </p:nvSpPr>
          <p:spPr>
            <a:xfrm>
              <a:off x="3972498" y="3768759"/>
              <a:ext cx="1478290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Company Name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0D5588A-9DB2-4933-A243-970E5CBFA6A6}"/>
                </a:ext>
              </a:extLst>
            </p:cNvPr>
            <p:cNvSpPr txBox="1"/>
            <p:nvPr/>
          </p:nvSpPr>
          <p:spPr>
            <a:xfrm>
              <a:off x="5836741" y="3768759"/>
              <a:ext cx="683200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CMP1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85D9240-0236-4BF9-9145-0568F68DFBEA}"/>
              </a:ext>
            </a:extLst>
          </p:cNvPr>
          <p:cNvGrpSpPr/>
          <p:nvPr/>
        </p:nvGrpSpPr>
        <p:grpSpPr>
          <a:xfrm>
            <a:off x="4398285" y="3718353"/>
            <a:ext cx="2819954" cy="523220"/>
            <a:chOff x="3972498" y="4261580"/>
            <a:chExt cx="2819954" cy="523220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B790167-A904-4F3B-8805-DE63F5D2FA1D}"/>
                </a:ext>
              </a:extLst>
            </p:cNvPr>
            <p:cNvSpPr txBox="1"/>
            <p:nvPr/>
          </p:nvSpPr>
          <p:spPr>
            <a:xfrm>
              <a:off x="3972498" y="4261580"/>
              <a:ext cx="1463976" cy="52322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/>
                <a:t>CEO Name &amp; Board Members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CBCE05A-2223-45BC-A488-7C389ABF1E56}"/>
                </a:ext>
              </a:extLst>
            </p:cNvPr>
            <p:cNvSpPr txBox="1"/>
            <p:nvPr/>
          </p:nvSpPr>
          <p:spPr>
            <a:xfrm>
              <a:off x="5836741" y="4369302"/>
              <a:ext cx="955711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AAA,BBB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F87004C-903F-40A8-920E-19205B7109ED}"/>
              </a:ext>
            </a:extLst>
          </p:cNvPr>
          <p:cNvGrpSpPr/>
          <p:nvPr/>
        </p:nvGrpSpPr>
        <p:grpSpPr>
          <a:xfrm>
            <a:off x="4398285" y="4210285"/>
            <a:ext cx="2388746" cy="307777"/>
            <a:chOff x="3972498" y="4765330"/>
            <a:chExt cx="2388746" cy="307777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FF9107E2-DF5B-43AE-A262-0083C02D9A0C}"/>
                </a:ext>
              </a:extLst>
            </p:cNvPr>
            <p:cNvSpPr txBox="1"/>
            <p:nvPr/>
          </p:nvSpPr>
          <p:spPr>
            <a:xfrm>
              <a:off x="3972498" y="4765330"/>
              <a:ext cx="1407574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/>
                <a:t>Turn Over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06A96D0-61D3-4543-9267-C243C98737E3}"/>
                </a:ext>
              </a:extLst>
            </p:cNvPr>
            <p:cNvSpPr txBox="1"/>
            <p:nvPr/>
          </p:nvSpPr>
          <p:spPr>
            <a:xfrm>
              <a:off x="5836741" y="4765330"/>
              <a:ext cx="524503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xx%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804AA7E-DC65-4D82-BDD0-92247DFB1076}"/>
              </a:ext>
            </a:extLst>
          </p:cNvPr>
          <p:cNvGrpSpPr/>
          <p:nvPr/>
        </p:nvGrpSpPr>
        <p:grpSpPr>
          <a:xfrm>
            <a:off x="4398285" y="4944025"/>
            <a:ext cx="2943385" cy="307777"/>
            <a:chOff x="3972498" y="3768759"/>
            <a:chExt cx="2943385" cy="307777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2161661-2A1D-4D94-BA64-0DF127F2A83F}"/>
                </a:ext>
              </a:extLst>
            </p:cNvPr>
            <p:cNvSpPr txBox="1"/>
            <p:nvPr/>
          </p:nvSpPr>
          <p:spPr>
            <a:xfrm>
              <a:off x="3972498" y="3768759"/>
              <a:ext cx="922047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IPO Date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44FF2EA0-D0B8-435D-B972-0769ABDC457B}"/>
                </a:ext>
              </a:extLst>
            </p:cNvPr>
            <p:cNvSpPr txBox="1"/>
            <p:nvPr/>
          </p:nvSpPr>
          <p:spPr>
            <a:xfrm>
              <a:off x="5836741" y="3768759"/>
              <a:ext cx="1079142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01/01/2020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FF4BA29-DF3D-4B9B-9C8F-C46135CA44E0}"/>
              </a:ext>
            </a:extLst>
          </p:cNvPr>
          <p:cNvGrpSpPr/>
          <p:nvPr/>
        </p:nvGrpSpPr>
        <p:grpSpPr>
          <a:xfrm>
            <a:off x="4383356" y="4570040"/>
            <a:ext cx="2367907" cy="307777"/>
            <a:chOff x="3972498" y="3768759"/>
            <a:chExt cx="2367907" cy="307777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3BFB2FC9-DB63-46C5-840A-3F7DB7186DEA}"/>
                </a:ext>
              </a:extLst>
            </p:cNvPr>
            <p:cNvSpPr txBox="1"/>
            <p:nvPr/>
          </p:nvSpPr>
          <p:spPr>
            <a:xfrm>
              <a:off x="3972498" y="3768759"/>
              <a:ext cx="1499128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Brief Description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04F94B8-A6AE-4AC2-A107-C2DA99549E81}"/>
                </a:ext>
              </a:extLst>
            </p:cNvPr>
            <p:cNvSpPr txBox="1"/>
            <p:nvPr/>
          </p:nvSpPr>
          <p:spPr>
            <a:xfrm>
              <a:off x="5836741" y="3768759"/>
              <a:ext cx="503664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De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033964-41F2-4CF4-A9B0-D5FE3FE5A9BA}"/>
              </a:ext>
            </a:extLst>
          </p:cNvPr>
          <p:cNvGrpSpPr/>
          <p:nvPr/>
        </p:nvGrpSpPr>
        <p:grpSpPr>
          <a:xfrm>
            <a:off x="4984884" y="5376392"/>
            <a:ext cx="2222232" cy="336351"/>
            <a:chOff x="5073562" y="5376392"/>
            <a:chExt cx="2222232" cy="336351"/>
          </a:xfrm>
        </p:grpSpPr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F4BF78C9-3CE1-4670-A651-F654C4FF4636}"/>
                </a:ext>
              </a:extLst>
            </p:cNvPr>
            <p:cNvSpPr/>
            <p:nvPr/>
          </p:nvSpPr>
          <p:spPr>
            <a:xfrm>
              <a:off x="5073562" y="5376392"/>
              <a:ext cx="962332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ve</a:t>
              </a:r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5D8D9BB5-5619-4EA2-994C-5BE3030CAB55}"/>
                </a:ext>
              </a:extLst>
            </p:cNvPr>
            <p:cNvSpPr/>
            <p:nvPr/>
          </p:nvSpPr>
          <p:spPr>
            <a:xfrm>
              <a:off x="6333462" y="5376392"/>
              <a:ext cx="962332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ancel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721494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anage Exchange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8564" y="1355728"/>
            <a:ext cx="9598788" cy="47140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8990045" y="2001267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523142" y="2717571"/>
            <a:ext cx="9060652" cy="335154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215123" y="2378938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Update IPO Detai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062245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Excha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3987534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1929000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Import 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EF6BB4-5DFC-400C-8B9A-90957CB54636}"/>
              </a:ext>
            </a:extLst>
          </p:cNvPr>
          <p:cNvSpPr txBox="1"/>
          <p:nvPr/>
        </p:nvSpPr>
        <p:spPr>
          <a:xfrm>
            <a:off x="4379024" y="2741293"/>
            <a:ext cx="2460930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List of Exchang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F212AF-FAA9-4CF1-86F3-62C53012BE6D}"/>
              </a:ext>
            </a:extLst>
          </p:cNvPr>
          <p:cNvSpPr/>
          <p:nvPr/>
        </p:nvSpPr>
        <p:spPr>
          <a:xfrm>
            <a:off x="2360427" y="3198773"/>
            <a:ext cx="7531847" cy="2734194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C7808020-FA27-4E27-BAA4-7CDDC40359CD}"/>
              </a:ext>
            </a:extLst>
          </p:cNvPr>
          <p:cNvSpPr/>
          <p:nvPr/>
        </p:nvSpPr>
        <p:spPr>
          <a:xfrm>
            <a:off x="8215123" y="2808309"/>
            <a:ext cx="1549845" cy="336351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New Exchang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DE810B4-83EC-4BE3-8BA4-886C56027C0E}"/>
              </a:ext>
            </a:extLst>
          </p:cNvPr>
          <p:cNvGrpSpPr/>
          <p:nvPr/>
        </p:nvGrpSpPr>
        <p:grpSpPr>
          <a:xfrm>
            <a:off x="2472689" y="3297843"/>
            <a:ext cx="7290397" cy="517286"/>
            <a:chOff x="2608513" y="3775544"/>
            <a:chExt cx="7290397" cy="517286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DEFCAED-CDD9-407D-AD32-084259C70C21}"/>
                </a:ext>
              </a:extLst>
            </p:cNvPr>
            <p:cNvSpPr/>
            <p:nvPr/>
          </p:nvSpPr>
          <p:spPr>
            <a:xfrm>
              <a:off x="2608513" y="3775544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EE643C2-0E16-4734-8041-C3AC103341F4}"/>
                </a:ext>
              </a:extLst>
            </p:cNvPr>
            <p:cNvSpPr/>
            <p:nvPr/>
          </p:nvSpPr>
          <p:spPr>
            <a:xfrm>
              <a:off x="2757368" y="3832169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71361E4-9AB2-41D8-AF59-61898B6D8F59}"/>
                </a:ext>
              </a:extLst>
            </p:cNvPr>
            <p:cNvSpPr/>
            <p:nvPr/>
          </p:nvSpPr>
          <p:spPr>
            <a:xfrm>
              <a:off x="3342155" y="3832168"/>
              <a:ext cx="2006023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Stock Exchang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8EBE40D-EE3F-415B-8D01-B78D07C90A61}"/>
                </a:ext>
              </a:extLst>
            </p:cNvPr>
            <p:cNvSpPr/>
            <p:nvPr/>
          </p:nvSpPr>
          <p:spPr>
            <a:xfrm>
              <a:off x="6404037" y="3824330"/>
              <a:ext cx="246706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Remarks</a:t>
              </a:r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9B80C979-AAF1-4283-901D-BD78863A084F}"/>
                </a:ext>
              </a:extLst>
            </p:cNvPr>
            <p:cNvSpPr/>
            <p:nvPr/>
          </p:nvSpPr>
          <p:spPr>
            <a:xfrm>
              <a:off x="9066299" y="3866012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D1889AD-C936-4419-93B1-9F2712D6E29A}"/>
                </a:ext>
              </a:extLst>
            </p:cNvPr>
            <p:cNvSpPr/>
            <p:nvPr/>
          </p:nvSpPr>
          <p:spPr>
            <a:xfrm>
              <a:off x="5404580" y="3832168"/>
              <a:ext cx="90377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Brief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20F1F69-45DE-48B3-91EB-41EF8D020B3D}"/>
              </a:ext>
            </a:extLst>
          </p:cNvPr>
          <p:cNvGrpSpPr/>
          <p:nvPr/>
        </p:nvGrpSpPr>
        <p:grpSpPr>
          <a:xfrm>
            <a:off x="2472689" y="3855575"/>
            <a:ext cx="7290397" cy="517286"/>
            <a:chOff x="2608513" y="3775544"/>
            <a:chExt cx="7290397" cy="517286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00026238-C277-439D-9F94-FCF258A548AA}"/>
                </a:ext>
              </a:extLst>
            </p:cNvPr>
            <p:cNvSpPr/>
            <p:nvPr/>
          </p:nvSpPr>
          <p:spPr>
            <a:xfrm>
              <a:off x="2608513" y="3775544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9346D81-573A-4922-A235-D1F69BE5D8A2}"/>
                </a:ext>
              </a:extLst>
            </p:cNvPr>
            <p:cNvSpPr/>
            <p:nvPr/>
          </p:nvSpPr>
          <p:spPr>
            <a:xfrm>
              <a:off x="2757368" y="3832169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2F36EB4-470D-4105-8D3B-C240594AA053}"/>
                </a:ext>
              </a:extLst>
            </p:cNvPr>
            <p:cNvSpPr/>
            <p:nvPr/>
          </p:nvSpPr>
          <p:spPr>
            <a:xfrm>
              <a:off x="3342155" y="3832168"/>
              <a:ext cx="2006023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Stock Exchange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F86F2CD-EC3B-42CE-84CD-425C1BFF6713}"/>
                </a:ext>
              </a:extLst>
            </p:cNvPr>
            <p:cNvSpPr/>
            <p:nvPr/>
          </p:nvSpPr>
          <p:spPr>
            <a:xfrm>
              <a:off x="6404037" y="3824330"/>
              <a:ext cx="246706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Remarks</a:t>
              </a: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AFF160F3-5297-4D13-B890-1AB68F234C0F}"/>
                </a:ext>
              </a:extLst>
            </p:cNvPr>
            <p:cNvSpPr/>
            <p:nvPr/>
          </p:nvSpPr>
          <p:spPr>
            <a:xfrm>
              <a:off x="9066299" y="3866012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CB306988-13DB-4C4D-A0DA-6A03717495BA}"/>
                </a:ext>
              </a:extLst>
            </p:cNvPr>
            <p:cNvSpPr/>
            <p:nvPr/>
          </p:nvSpPr>
          <p:spPr>
            <a:xfrm>
              <a:off x="5404580" y="3832168"/>
              <a:ext cx="90377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Brief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023216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anage Exchange – Edit Page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8564" y="1355728"/>
            <a:ext cx="9598788" cy="47140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9195672" y="1971665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523142" y="2717571"/>
            <a:ext cx="9060652" cy="335154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329119" y="2389793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Update IPO Detai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143189" y="239015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Excha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4024715" y="2381454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1929000" y="2382630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Import 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EF6BB4-5DFC-400C-8B9A-90957CB54636}"/>
              </a:ext>
            </a:extLst>
          </p:cNvPr>
          <p:cNvSpPr txBox="1"/>
          <p:nvPr/>
        </p:nvSpPr>
        <p:spPr>
          <a:xfrm>
            <a:off x="4379024" y="2741293"/>
            <a:ext cx="2650084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List of Compan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F212AF-FAA9-4CF1-86F3-62C53012BE6D}"/>
              </a:ext>
            </a:extLst>
          </p:cNvPr>
          <p:cNvSpPr/>
          <p:nvPr/>
        </p:nvSpPr>
        <p:spPr>
          <a:xfrm>
            <a:off x="2360427" y="3198773"/>
            <a:ext cx="7531847" cy="273419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78143A8-4914-452D-8828-383F8353C96D}"/>
              </a:ext>
            </a:extLst>
          </p:cNvPr>
          <p:cNvGrpSpPr/>
          <p:nvPr/>
        </p:nvGrpSpPr>
        <p:grpSpPr>
          <a:xfrm>
            <a:off x="2472690" y="3868789"/>
            <a:ext cx="7290397" cy="517286"/>
            <a:chOff x="2608513" y="3775544"/>
            <a:chExt cx="7290397" cy="517286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A5F217A-1E48-4073-B485-87BD87B67BD4}"/>
                </a:ext>
              </a:extLst>
            </p:cNvPr>
            <p:cNvSpPr/>
            <p:nvPr/>
          </p:nvSpPr>
          <p:spPr>
            <a:xfrm>
              <a:off x="2608513" y="3775544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CD683D6-4ED6-4CD5-82D8-A9412F90678E}"/>
                </a:ext>
              </a:extLst>
            </p:cNvPr>
            <p:cNvSpPr/>
            <p:nvPr/>
          </p:nvSpPr>
          <p:spPr>
            <a:xfrm>
              <a:off x="2757368" y="3832169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5CCDAAB-D8E0-48F2-9763-F1F381618488}"/>
                </a:ext>
              </a:extLst>
            </p:cNvPr>
            <p:cNvSpPr/>
            <p:nvPr/>
          </p:nvSpPr>
          <p:spPr>
            <a:xfrm>
              <a:off x="3342155" y="3832168"/>
              <a:ext cx="2006023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55DB161-4DDA-4CDB-991A-F4377EE2D9E5}"/>
                </a:ext>
              </a:extLst>
            </p:cNvPr>
            <p:cNvSpPr/>
            <p:nvPr/>
          </p:nvSpPr>
          <p:spPr>
            <a:xfrm>
              <a:off x="6404037" y="3824330"/>
              <a:ext cx="246706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Description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75946A5-A6A9-4400-BF5A-69330F6DFE1B}"/>
                </a:ext>
              </a:extLst>
            </p:cNvPr>
            <p:cNvSpPr/>
            <p:nvPr/>
          </p:nvSpPr>
          <p:spPr>
            <a:xfrm>
              <a:off x="9066299" y="3866012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6D107B0-E404-405C-8AF0-B48A77D81E82}"/>
                </a:ext>
              </a:extLst>
            </p:cNvPr>
            <p:cNvSpPr/>
            <p:nvPr/>
          </p:nvSpPr>
          <p:spPr>
            <a:xfrm>
              <a:off x="5404580" y="3832168"/>
              <a:ext cx="90377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Exchange Name</a:t>
              </a:r>
            </a:p>
          </p:txBody>
        </p:sp>
      </p:grp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C7808020-FA27-4E27-BAA4-7CDDC40359CD}"/>
              </a:ext>
            </a:extLst>
          </p:cNvPr>
          <p:cNvSpPr/>
          <p:nvPr/>
        </p:nvSpPr>
        <p:spPr>
          <a:xfrm>
            <a:off x="8215123" y="2808309"/>
            <a:ext cx="1549845" cy="336351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New Company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DE810B4-83EC-4BE3-8BA4-886C56027C0E}"/>
              </a:ext>
            </a:extLst>
          </p:cNvPr>
          <p:cNvGrpSpPr/>
          <p:nvPr/>
        </p:nvGrpSpPr>
        <p:grpSpPr>
          <a:xfrm>
            <a:off x="2472689" y="3297843"/>
            <a:ext cx="7290397" cy="517286"/>
            <a:chOff x="2608513" y="3775544"/>
            <a:chExt cx="7290397" cy="517286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DEFCAED-CDD9-407D-AD32-084259C70C21}"/>
                </a:ext>
              </a:extLst>
            </p:cNvPr>
            <p:cNvSpPr/>
            <p:nvPr/>
          </p:nvSpPr>
          <p:spPr>
            <a:xfrm>
              <a:off x="2608513" y="3775544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EE643C2-0E16-4734-8041-C3AC103341F4}"/>
                </a:ext>
              </a:extLst>
            </p:cNvPr>
            <p:cNvSpPr/>
            <p:nvPr/>
          </p:nvSpPr>
          <p:spPr>
            <a:xfrm>
              <a:off x="2757368" y="3832169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71361E4-9AB2-41D8-AF59-61898B6D8F59}"/>
                </a:ext>
              </a:extLst>
            </p:cNvPr>
            <p:cNvSpPr/>
            <p:nvPr/>
          </p:nvSpPr>
          <p:spPr>
            <a:xfrm>
              <a:off x="3342155" y="3832168"/>
              <a:ext cx="2006023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8EBE40D-EE3F-415B-8D01-B78D07C90A61}"/>
                </a:ext>
              </a:extLst>
            </p:cNvPr>
            <p:cNvSpPr/>
            <p:nvPr/>
          </p:nvSpPr>
          <p:spPr>
            <a:xfrm>
              <a:off x="6404037" y="3824330"/>
              <a:ext cx="246706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Description</a:t>
              </a:r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9B80C979-AAF1-4283-901D-BD78863A084F}"/>
                </a:ext>
              </a:extLst>
            </p:cNvPr>
            <p:cNvSpPr/>
            <p:nvPr/>
          </p:nvSpPr>
          <p:spPr>
            <a:xfrm>
              <a:off x="9066299" y="3866012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D1889AD-C936-4419-93B1-9F2712D6E29A}"/>
                </a:ext>
              </a:extLst>
            </p:cNvPr>
            <p:cNvSpPr/>
            <p:nvPr/>
          </p:nvSpPr>
          <p:spPr>
            <a:xfrm>
              <a:off x="5404580" y="3832168"/>
              <a:ext cx="90377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Exchange Name</a:t>
              </a: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0031AAA1-761A-4718-98BE-F7680D899FA2}"/>
              </a:ext>
            </a:extLst>
          </p:cNvPr>
          <p:cNvSpPr/>
          <p:nvPr/>
        </p:nvSpPr>
        <p:spPr>
          <a:xfrm>
            <a:off x="3044456" y="2870791"/>
            <a:ext cx="6103089" cy="3083442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A9EC6D4-AFB1-4794-BAEA-ADE82E16F8C8}"/>
              </a:ext>
            </a:extLst>
          </p:cNvPr>
          <p:cNvSpPr txBox="1"/>
          <p:nvPr/>
        </p:nvSpPr>
        <p:spPr>
          <a:xfrm>
            <a:off x="4695617" y="2936256"/>
            <a:ext cx="3180679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Create/Edit Exchange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290BAC4-130D-4626-ABDE-23F5110B9A82}"/>
              </a:ext>
            </a:extLst>
          </p:cNvPr>
          <p:cNvGrpSpPr/>
          <p:nvPr/>
        </p:nvGrpSpPr>
        <p:grpSpPr>
          <a:xfrm>
            <a:off x="4398285" y="3409965"/>
            <a:ext cx="2388746" cy="307777"/>
            <a:chOff x="3972498" y="3768759"/>
            <a:chExt cx="2388746" cy="307777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66C42EE-DD26-45E7-A276-E12E78EE332E}"/>
                </a:ext>
              </a:extLst>
            </p:cNvPr>
            <p:cNvSpPr txBox="1"/>
            <p:nvPr/>
          </p:nvSpPr>
          <p:spPr>
            <a:xfrm>
              <a:off x="3972498" y="3768759"/>
              <a:ext cx="1479892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Stock Exchange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0D5588A-9DB2-4933-A243-970E5CBFA6A6}"/>
                </a:ext>
              </a:extLst>
            </p:cNvPr>
            <p:cNvSpPr txBox="1"/>
            <p:nvPr/>
          </p:nvSpPr>
          <p:spPr>
            <a:xfrm>
              <a:off x="5836741" y="3768759"/>
              <a:ext cx="524503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EX1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85D9240-0236-4BF9-9145-0568F68DFBEA}"/>
              </a:ext>
            </a:extLst>
          </p:cNvPr>
          <p:cNvGrpSpPr/>
          <p:nvPr/>
        </p:nvGrpSpPr>
        <p:grpSpPr>
          <a:xfrm>
            <a:off x="4398285" y="3892350"/>
            <a:ext cx="2367907" cy="307777"/>
            <a:chOff x="3972498" y="4261580"/>
            <a:chExt cx="2367907" cy="307777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B790167-A904-4F3B-8805-DE63F5D2FA1D}"/>
                </a:ext>
              </a:extLst>
            </p:cNvPr>
            <p:cNvSpPr txBox="1"/>
            <p:nvPr/>
          </p:nvSpPr>
          <p:spPr>
            <a:xfrm>
              <a:off x="3972498" y="4261580"/>
              <a:ext cx="146397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/>
                <a:t>Brief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CBCE05A-2223-45BC-A488-7C389ABF1E56}"/>
                </a:ext>
              </a:extLst>
            </p:cNvPr>
            <p:cNvSpPr txBox="1"/>
            <p:nvPr/>
          </p:nvSpPr>
          <p:spPr>
            <a:xfrm>
              <a:off x="5836741" y="4261580"/>
              <a:ext cx="503664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Des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F87004C-903F-40A8-920E-19205B7109ED}"/>
              </a:ext>
            </a:extLst>
          </p:cNvPr>
          <p:cNvGrpSpPr/>
          <p:nvPr/>
        </p:nvGrpSpPr>
        <p:grpSpPr>
          <a:xfrm>
            <a:off x="4398284" y="4374735"/>
            <a:ext cx="2467294" cy="307777"/>
            <a:chOff x="3972497" y="4765330"/>
            <a:chExt cx="2467294" cy="307777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FF9107E2-DF5B-43AE-A262-0083C02D9A0C}"/>
                </a:ext>
              </a:extLst>
            </p:cNvPr>
            <p:cNvSpPr txBox="1"/>
            <p:nvPr/>
          </p:nvSpPr>
          <p:spPr>
            <a:xfrm>
              <a:off x="3972497" y="4765330"/>
              <a:ext cx="1489885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/>
                <a:t>Contact Address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06A96D0-61D3-4543-9267-C243C98737E3}"/>
                </a:ext>
              </a:extLst>
            </p:cNvPr>
            <p:cNvSpPr txBox="1"/>
            <p:nvPr/>
          </p:nvSpPr>
          <p:spPr>
            <a:xfrm>
              <a:off x="5836741" y="4765330"/>
              <a:ext cx="603050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Add1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FF4BA29-DF3D-4B9B-9C8F-C46135CA44E0}"/>
              </a:ext>
            </a:extLst>
          </p:cNvPr>
          <p:cNvGrpSpPr/>
          <p:nvPr/>
        </p:nvGrpSpPr>
        <p:grpSpPr>
          <a:xfrm>
            <a:off x="4383356" y="4857121"/>
            <a:ext cx="2675684" cy="307777"/>
            <a:chOff x="3972498" y="3768759"/>
            <a:chExt cx="2675684" cy="307777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3BFB2FC9-DB63-46C5-840A-3F7DB7186DEA}"/>
                </a:ext>
              </a:extLst>
            </p:cNvPr>
            <p:cNvSpPr txBox="1"/>
            <p:nvPr/>
          </p:nvSpPr>
          <p:spPr>
            <a:xfrm>
              <a:off x="3972498" y="3768759"/>
              <a:ext cx="901209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dirty="0"/>
                <a:t>Remarks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04F94B8-A6AE-4AC2-A107-C2DA99549E81}"/>
                </a:ext>
              </a:extLst>
            </p:cNvPr>
            <p:cNvSpPr txBox="1"/>
            <p:nvPr/>
          </p:nvSpPr>
          <p:spPr>
            <a:xfrm>
              <a:off x="5836741" y="3768759"/>
              <a:ext cx="811441" cy="307777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sz="1400" u="sng" dirty="0"/>
                <a:t>Remark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8033964-41F2-4CF4-A9B0-D5FE3FE5A9BA}"/>
              </a:ext>
            </a:extLst>
          </p:cNvPr>
          <p:cNvGrpSpPr/>
          <p:nvPr/>
        </p:nvGrpSpPr>
        <p:grpSpPr>
          <a:xfrm>
            <a:off x="4984884" y="5376392"/>
            <a:ext cx="2222232" cy="336351"/>
            <a:chOff x="5073562" y="5376392"/>
            <a:chExt cx="2222232" cy="336351"/>
          </a:xfrm>
        </p:grpSpPr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F4BF78C9-3CE1-4670-A651-F654C4FF4636}"/>
                </a:ext>
              </a:extLst>
            </p:cNvPr>
            <p:cNvSpPr/>
            <p:nvPr/>
          </p:nvSpPr>
          <p:spPr>
            <a:xfrm>
              <a:off x="5073562" y="5376392"/>
              <a:ext cx="962332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ave</a:t>
              </a:r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5D8D9BB5-5619-4EA2-994C-5BE3030CAB55}"/>
                </a:ext>
              </a:extLst>
            </p:cNvPr>
            <p:cNvSpPr/>
            <p:nvPr/>
          </p:nvSpPr>
          <p:spPr>
            <a:xfrm>
              <a:off x="6333462" y="5376392"/>
              <a:ext cx="962332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ancel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106582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/>
              <a:t>Manage IPO</a:t>
            </a:r>
            <a:endParaRPr lang="zh-CN" altLang="en-US" sz="20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7DD340-C35E-46BA-AACC-9BA4C9B912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8564" y="1355728"/>
            <a:ext cx="9598788" cy="47140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7B9DD1-5ECB-4BB7-ABC3-7190ACA70C87}"/>
              </a:ext>
            </a:extLst>
          </p:cNvPr>
          <p:cNvSpPr txBox="1"/>
          <p:nvPr/>
        </p:nvSpPr>
        <p:spPr>
          <a:xfrm>
            <a:off x="9162035" y="1997425"/>
            <a:ext cx="780983" cy="30777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none" rtlCol="0">
            <a:spAutoFit/>
          </a:bodyPr>
          <a:lstStyle/>
          <a:p>
            <a:r>
              <a:rPr lang="en-US" sz="1400" u="sng" dirty="0"/>
              <a:t>Log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CCD445-4814-4E07-A4F9-1B549ACAB728}"/>
              </a:ext>
            </a:extLst>
          </p:cNvPr>
          <p:cNvSpPr/>
          <p:nvPr/>
        </p:nvSpPr>
        <p:spPr>
          <a:xfrm>
            <a:off x="1523142" y="2717571"/>
            <a:ext cx="9060652" cy="335154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6B0648-512C-46A6-A85F-47C758855798}"/>
              </a:ext>
            </a:extLst>
          </p:cNvPr>
          <p:cNvSpPr/>
          <p:nvPr/>
        </p:nvSpPr>
        <p:spPr>
          <a:xfrm>
            <a:off x="8249679" y="2390543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Update IPO Detai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F1E6C4-E132-4AAE-A413-E134F986C273}"/>
              </a:ext>
            </a:extLst>
          </p:cNvPr>
          <p:cNvSpPr/>
          <p:nvPr/>
        </p:nvSpPr>
        <p:spPr>
          <a:xfrm>
            <a:off x="6060603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Exchan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3C1F07-5ADA-4E39-8727-7F6B23DB178B}"/>
              </a:ext>
            </a:extLst>
          </p:cNvPr>
          <p:cNvSpPr/>
          <p:nvPr/>
        </p:nvSpPr>
        <p:spPr>
          <a:xfrm>
            <a:off x="3920727" y="2390543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age Compan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897483-0FBA-460A-A1AC-9753B8D0CD12}"/>
              </a:ext>
            </a:extLst>
          </p:cNvPr>
          <p:cNvSpPr/>
          <p:nvPr/>
        </p:nvSpPr>
        <p:spPr>
          <a:xfrm>
            <a:off x="1754990" y="2399161"/>
            <a:ext cx="1733107" cy="3184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Import 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EF6BB4-5DFC-400C-8B9A-90957CB54636}"/>
              </a:ext>
            </a:extLst>
          </p:cNvPr>
          <p:cNvSpPr txBox="1"/>
          <p:nvPr/>
        </p:nvSpPr>
        <p:spPr>
          <a:xfrm>
            <a:off x="4379024" y="2741293"/>
            <a:ext cx="2836033" cy="4616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none" rtlCol="0">
            <a:spAutoFit/>
          </a:bodyPr>
          <a:lstStyle/>
          <a:p>
            <a:r>
              <a:rPr lang="en-US" sz="2400" u="sng" dirty="0"/>
              <a:t>List of IPO Plann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F212AF-FAA9-4CF1-86F3-62C53012BE6D}"/>
              </a:ext>
            </a:extLst>
          </p:cNvPr>
          <p:cNvSpPr/>
          <p:nvPr/>
        </p:nvSpPr>
        <p:spPr>
          <a:xfrm>
            <a:off x="2360427" y="3184495"/>
            <a:ext cx="7531847" cy="273419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C7808020-FA27-4E27-BAA4-7CDDC40359CD}"/>
              </a:ext>
            </a:extLst>
          </p:cNvPr>
          <p:cNvSpPr/>
          <p:nvPr/>
        </p:nvSpPr>
        <p:spPr>
          <a:xfrm>
            <a:off x="8215123" y="2808309"/>
            <a:ext cx="1549845" cy="336351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New IPO Detai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2B030E-5EBD-4534-A2B2-DC0E1237B589}"/>
              </a:ext>
            </a:extLst>
          </p:cNvPr>
          <p:cNvGrpSpPr/>
          <p:nvPr/>
        </p:nvGrpSpPr>
        <p:grpSpPr>
          <a:xfrm>
            <a:off x="2472689" y="3297843"/>
            <a:ext cx="7290397" cy="517286"/>
            <a:chOff x="2472689" y="3297843"/>
            <a:chExt cx="7290397" cy="517286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DEFCAED-CDD9-407D-AD32-084259C70C21}"/>
                </a:ext>
              </a:extLst>
            </p:cNvPr>
            <p:cNvSpPr/>
            <p:nvPr/>
          </p:nvSpPr>
          <p:spPr>
            <a:xfrm>
              <a:off x="2472689" y="3297843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EE643C2-0E16-4734-8041-C3AC103341F4}"/>
                </a:ext>
              </a:extLst>
            </p:cNvPr>
            <p:cNvSpPr/>
            <p:nvPr/>
          </p:nvSpPr>
          <p:spPr>
            <a:xfrm>
              <a:off x="2621544" y="3354468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71361E4-9AB2-41D8-AF59-61898B6D8F59}"/>
                </a:ext>
              </a:extLst>
            </p:cNvPr>
            <p:cNvSpPr/>
            <p:nvPr/>
          </p:nvSpPr>
          <p:spPr>
            <a:xfrm>
              <a:off x="3150861" y="3354467"/>
              <a:ext cx="1251889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8EBE40D-EE3F-415B-8D01-B78D07C90A61}"/>
                </a:ext>
              </a:extLst>
            </p:cNvPr>
            <p:cNvSpPr/>
            <p:nvPr/>
          </p:nvSpPr>
          <p:spPr>
            <a:xfrm>
              <a:off x="7601960" y="3346629"/>
              <a:ext cx="121870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Open Date/Time</a:t>
              </a:r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9B80C979-AAF1-4283-901D-BD78863A084F}"/>
                </a:ext>
              </a:extLst>
            </p:cNvPr>
            <p:cNvSpPr/>
            <p:nvPr/>
          </p:nvSpPr>
          <p:spPr>
            <a:xfrm>
              <a:off x="8930475" y="3388311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D1889AD-C936-4419-93B1-9F2712D6E29A}"/>
                </a:ext>
              </a:extLst>
            </p:cNvPr>
            <p:cNvSpPr/>
            <p:nvPr/>
          </p:nvSpPr>
          <p:spPr>
            <a:xfrm>
              <a:off x="6239267" y="3354467"/>
              <a:ext cx="132321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Total # of shares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1D59541D-70FE-4F35-9CBB-3D158640E0FD}"/>
                </a:ext>
              </a:extLst>
            </p:cNvPr>
            <p:cNvSpPr/>
            <p:nvPr/>
          </p:nvSpPr>
          <p:spPr>
            <a:xfrm>
              <a:off x="4492604" y="3354467"/>
              <a:ext cx="85505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Stock Exchange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0E65139A-1E10-4744-9E0E-FD74BC917667}"/>
                </a:ext>
              </a:extLst>
            </p:cNvPr>
            <p:cNvSpPr/>
            <p:nvPr/>
          </p:nvSpPr>
          <p:spPr>
            <a:xfrm>
              <a:off x="5446428" y="3358012"/>
              <a:ext cx="74691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rice per share</a:t>
              </a: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308F6B15-20BE-4A3A-9B2F-C75FC2432EF3}"/>
              </a:ext>
            </a:extLst>
          </p:cNvPr>
          <p:cNvGrpSpPr/>
          <p:nvPr/>
        </p:nvGrpSpPr>
        <p:grpSpPr>
          <a:xfrm>
            <a:off x="2472689" y="3864743"/>
            <a:ext cx="7290397" cy="517286"/>
            <a:chOff x="2472689" y="3297843"/>
            <a:chExt cx="7290397" cy="517286"/>
          </a:xfrm>
        </p:grpSpPr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B153176F-2FBD-4A8C-A329-E48947293CC0}"/>
                </a:ext>
              </a:extLst>
            </p:cNvPr>
            <p:cNvSpPr/>
            <p:nvPr/>
          </p:nvSpPr>
          <p:spPr>
            <a:xfrm>
              <a:off x="2472689" y="3297843"/>
              <a:ext cx="7290397" cy="517286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5CAFEFDB-4586-4C3C-8BE7-25D658689522}"/>
                </a:ext>
              </a:extLst>
            </p:cNvPr>
            <p:cNvSpPr/>
            <p:nvPr/>
          </p:nvSpPr>
          <p:spPr>
            <a:xfrm>
              <a:off x="2621544" y="3354468"/>
              <a:ext cx="489097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IC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17C80F6B-A60D-4F9A-A3A5-D67155FD31CE}"/>
                </a:ext>
              </a:extLst>
            </p:cNvPr>
            <p:cNvSpPr/>
            <p:nvPr/>
          </p:nvSpPr>
          <p:spPr>
            <a:xfrm>
              <a:off x="3150861" y="3354467"/>
              <a:ext cx="1251889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Company Name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D3022629-8E4D-4FED-AD17-FEB975CB9750}"/>
                </a:ext>
              </a:extLst>
            </p:cNvPr>
            <p:cNvSpPr/>
            <p:nvPr/>
          </p:nvSpPr>
          <p:spPr>
            <a:xfrm>
              <a:off x="7601960" y="3346629"/>
              <a:ext cx="121870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Open Date/Time</a:t>
              </a:r>
            </a:p>
          </p:txBody>
        </p: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931C63FC-D141-4C8D-9460-10BAFECE1CCC}"/>
                </a:ext>
              </a:extLst>
            </p:cNvPr>
            <p:cNvSpPr/>
            <p:nvPr/>
          </p:nvSpPr>
          <p:spPr>
            <a:xfrm>
              <a:off x="8930475" y="3388311"/>
              <a:ext cx="723014" cy="336351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Edit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350F6E8C-3B14-4593-8A93-65DC50C912F2}"/>
                </a:ext>
              </a:extLst>
            </p:cNvPr>
            <p:cNvSpPr/>
            <p:nvPr/>
          </p:nvSpPr>
          <p:spPr>
            <a:xfrm>
              <a:off x="6239267" y="3354467"/>
              <a:ext cx="1323211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Total # of shares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B8F2FDE-BCB9-441E-B5F9-FC4C440C0699}"/>
                </a:ext>
              </a:extLst>
            </p:cNvPr>
            <p:cNvSpPr/>
            <p:nvPr/>
          </p:nvSpPr>
          <p:spPr>
            <a:xfrm>
              <a:off x="4492604" y="3354467"/>
              <a:ext cx="85505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Stock Exchange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95E7536C-AADA-4568-9891-41123A72E7A1}"/>
                </a:ext>
              </a:extLst>
            </p:cNvPr>
            <p:cNvSpPr/>
            <p:nvPr/>
          </p:nvSpPr>
          <p:spPr>
            <a:xfrm>
              <a:off x="5446428" y="3358012"/>
              <a:ext cx="746918" cy="4296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/>
                <a:t>Price per share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77578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2560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97216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97216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02E91"/>
      </a:accent1>
      <a:accent2>
        <a:srgbClr val="0151E8"/>
      </a:accent2>
      <a:accent3>
        <a:srgbClr val="3685F2"/>
      </a:accent3>
      <a:accent4>
        <a:srgbClr val="5066A3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91"/>
    </a:accent1>
    <a:accent2>
      <a:srgbClr val="0151E8"/>
    </a:accent2>
    <a:accent3>
      <a:srgbClr val="3685F2"/>
    </a:accent3>
    <a:accent4>
      <a:srgbClr val="5066A3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72</TotalTime>
  <Words>545</Words>
  <Application>Microsoft Office PowerPoint</Application>
  <PresentationFormat>Widescreen</PresentationFormat>
  <Paragraphs>291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等线</vt:lpstr>
      <vt:lpstr>Arial</vt:lpstr>
      <vt:lpstr>Calibri</vt:lpstr>
      <vt:lpstr>主题5</vt:lpstr>
      <vt:lpstr>think-cell Slide</vt:lpstr>
      <vt:lpstr>UI Design - Wireframe   </vt:lpstr>
      <vt:lpstr>Login</vt:lpstr>
      <vt:lpstr>Admin Landing page</vt:lpstr>
      <vt:lpstr>Import Data</vt:lpstr>
      <vt:lpstr>Manage Company</vt:lpstr>
      <vt:lpstr>Manage Company – Edit Page</vt:lpstr>
      <vt:lpstr>Manage Exchange</vt:lpstr>
      <vt:lpstr>Manage Exchange – Edit Page</vt:lpstr>
      <vt:lpstr>Manage IPO</vt:lpstr>
      <vt:lpstr>Update IPO – Edit Page</vt:lpstr>
      <vt:lpstr>User Landing page</vt:lpstr>
      <vt:lpstr>Compare company page</vt:lpstr>
      <vt:lpstr>Compare company page</vt:lpstr>
      <vt:lpstr>Compare sector page</vt:lpstr>
      <vt:lpstr>Compare company pag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SHAO HUA DU</cp:lastModifiedBy>
  <cp:revision>113</cp:revision>
  <cp:lastPrinted>2019-01-31T16:00:00Z</cp:lastPrinted>
  <dcterms:created xsi:type="dcterms:W3CDTF">2019-01-31T16:00:00Z</dcterms:created>
  <dcterms:modified xsi:type="dcterms:W3CDTF">2020-04-15T02:0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